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media/image25.bin" ContentType="image/x-emf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704" r:id="rId2"/>
  </p:sldMasterIdLst>
  <p:notesMasterIdLst>
    <p:notesMasterId r:id="rId21"/>
  </p:notesMasterIdLst>
  <p:handoutMasterIdLst>
    <p:handoutMasterId r:id="rId22"/>
  </p:handoutMasterIdLst>
  <p:sldIdLst>
    <p:sldId id="263" r:id="rId3"/>
    <p:sldId id="305" r:id="rId4"/>
    <p:sldId id="304" r:id="rId5"/>
    <p:sldId id="302" r:id="rId6"/>
    <p:sldId id="2146849216" r:id="rId7"/>
    <p:sldId id="261" r:id="rId8"/>
    <p:sldId id="2146849219" r:id="rId9"/>
    <p:sldId id="2146849224" r:id="rId10"/>
    <p:sldId id="2146849225" r:id="rId11"/>
    <p:sldId id="259" r:id="rId12"/>
    <p:sldId id="330" r:id="rId13"/>
    <p:sldId id="264" r:id="rId14"/>
    <p:sldId id="266" r:id="rId15"/>
    <p:sldId id="267" r:id="rId16"/>
    <p:sldId id="2146849217" r:id="rId17"/>
    <p:sldId id="2146849223" r:id="rId18"/>
    <p:sldId id="2146849220" r:id="rId19"/>
    <p:sldId id="30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6278D2-F122-47B5-B735-C272CD8A971E}" v="944" dt="2022-11-01T22:42:09.966"/>
    <p1510:client id="{8AD6C26C-E9FE-435E-9CE6-4D962D77E5C9}" v="6" dt="2022-11-02T06:08:39.63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44" autoAdjust="0"/>
    <p:restoredTop sz="93792" autoAdjust="0"/>
  </p:normalViewPr>
  <p:slideViewPr>
    <p:cSldViewPr snapToGrid="0" showGuides="1">
      <p:cViewPr>
        <p:scale>
          <a:sx n="62" d="100"/>
          <a:sy n="62" d="100"/>
        </p:scale>
        <p:origin x="42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5400" y="6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1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3784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8808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645165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1378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34BB09-483B-4C4B-A5A4-C02A22055B01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80777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17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6901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2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771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3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6699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4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4705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F2F6E2-CA2D-40A7-8BE4-C30E5CF205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7823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6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1353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7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3261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8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02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10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02/11/2022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7191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236968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890004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20350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68099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60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234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851545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17760073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164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630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15321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42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48A0E3C-0CE1-4BBF-A912-5A81BF3B7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CA8860-CDAD-4F91-9292-2B11655C19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C7A21B-9B48-4777-BF0D-9FB95719C2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6980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84">
          <p15:clr>
            <a:srgbClr val="F26B43"/>
          </p15:clr>
        </p15:guide>
        <p15:guide id="2" pos="1117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26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0724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148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6620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35545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3341663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939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760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5326229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825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244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9435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1458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3099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5974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5861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2648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91538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543358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6730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883889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811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114360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4870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6046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569089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0217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249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39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608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55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3443400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352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08208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867963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24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23896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928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808509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1952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44669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73713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34612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50" Type="http://schemas.openxmlformats.org/officeDocument/2006/relationships/slideLayout" Target="../slideLayouts/slideLayout106.xml"/><Relationship Id="rId55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97.xml"/><Relationship Id="rId54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3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slideLayout" Target="../slideLayouts/slideLayout104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64.xml"/><Relationship Id="rId51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60" r:id="rId5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02/11/2022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623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  <p:sldLayoutId id="2147483756" r:id="rId52"/>
    <p:sldLayoutId id="2147483757" r:id="rId53"/>
    <p:sldLayoutId id="2147483758" r:id="rId54"/>
    <p:sldLayoutId id="2147483759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>
          <p15:clr>
            <a:srgbClr val="A4A3A4"/>
          </p15:clr>
        </p15:guide>
        <p15:guide id="2" pos="847">
          <p15:clr>
            <a:srgbClr val="A4A3A4"/>
          </p15:clr>
        </p15:guide>
        <p15:guide id="3" orient="horz" pos="410">
          <p15:clr>
            <a:srgbClr val="F26B43"/>
          </p15:clr>
        </p15:guide>
        <p15:guide id="4" orient="horz" pos="4135">
          <p15:clr>
            <a:srgbClr val="A4A3A4"/>
          </p15:clr>
        </p15:guide>
        <p15:guide id="5" pos="226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 pos="1152">
          <p15:clr>
            <a:srgbClr val="F26B43"/>
          </p15:clr>
        </p15:guide>
        <p15:guide id="8" pos="1242">
          <p15:clr>
            <a:srgbClr val="A4A3A4"/>
          </p15:clr>
        </p15:guide>
        <p15:guide id="9" pos="1468">
          <p15:clr>
            <a:srgbClr val="A4A3A4"/>
          </p15:clr>
        </p15:guide>
        <p15:guide id="10" pos="1863">
          <p15:clr>
            <a:srgbClr val="A4A3A4"/>
          </p15:clr>
        </p15:guide>
        <p15:guide id="11" pos="2090">
          <p15:clr>
            <a:srgbClr val="A4A3A4"/>
          </p15:clr>
        </p15:guide>
        <p15:guide id="12" pos="2484">
          <p15:clr>
            <a:srgbClr val="A4A3A4"/>
          </p15:clr>
        </p15:guide>
        <p15:guide id="13" pos="2711">
          <p15:clr>
            <a:srgbClr val="A4A3A4"/>
          </p15:clr>
        </p15:guide>
        <p15:guide id="14" pos="3105">
          <p15:clr>
            <a:srgbClr val="A4A3A4"/>
          </p15:clr>
        </p15:guide>
        <p15:guide id="15" pos="3332">
          <p15:clr>
            <a:srgbClr val="A4A3A4"/>
          </p15:clr>
        </p15:guide>
        <p15:guide id="16" pos="3726">
          <p15:clr>
            <a:srgbClr val="A4A3A4"/>
          </p15:clr>
        </p15:guide>
        <p15:guide id="17" pos="3953">
          <p15:clr>
            <a:srgbClr val="A4A3A4"/>
          </p15:clr>
        </p15:guide>
        <p15:guide id="18" pos="4347">
          <p15:clr>
            <a:srgbClr val="A4A3A4"/>
          </p15:clr>
        </p15:guide>
        <p15:guide id="19" pos="4574">
          <p15:clr>
            <a:srgbClr val="A4A3A4"/>
          </p15:clr>
        </p15:guide>
        <p15:guide id="20" pos="4968">
          <p15:clr>
            <a:srgbClr val="A4A3A4"/>
          </p15:clr>
        </p15:guide>
        <p15:guide id="21" pos="5195">
          <p15:clr>
            <a:srgbClr val="A4A3A4"/>
          </p15:clr>
        </p15:guide>
        <p15:guide id="22" pos="5589">
          <p15:clr>
            <a:srgbClr val="A4A3A4"/>
          </p15:clr>
        </p15:guide>
        <p15:guide id="23" pos="5816">
          <p15:clr>
            <a:srgbClr val="A4A3A4"/>
          </p15:clr>
        </p15:guide>
        <p15:guide id="24" pos="6211">
          <p15:clr>
            <a:srgbClr val="A4A3A4"/>
          </p15:clr>
        </p15:guide>
        <p15:guide id="25" pos="6437">
          <p15:clr>
            <a:srgbClr val="A4A3A4"/>
          </p15:clr>
        </p15:guide>
        <p15:guide id="26" pos="6832">
          <p15:clr>
            <a:srgbClr val="A4A3A4"/>
          </p15:clr>
        </p15:guide>
        <p15:guide id="27" pos="7058">
          <p15:clr>
            <a:srgbClr val="A4A3A4"/>
          </p15:clr>
        </p15:guide>
        <p15:guide id="2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jpe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hyperlink" Target="mailto:mfar@ramboll.dk" TargetMode="External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bin"/><Relationship Id="rId3" Type="http://schemas.openxmlformats.org/officeDocument/2006/relationships/notesSlide" Target="../notesSlides/notesSlide5.xml"/><Relationship Id="rId7" Type="http://schemas.openxmlformats.org/officeDocument/2006/relationships/hyperlink" Target="file:///C:\Users\SOCN\Downloads\Commission_Communication_on_the_European_Green_Deal_Investment_Plan_EN.pdf.pdf" TargetMode="External"/><Relationship Id="rId12" Type="http://schemas.openxmlformats.org/officeDocument/2006/relationships/image" Target="../media/image24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Relationship Id="rId6" Type="http://schemas.openxmlformats.org/officeDocument/2006/relationships/hyperlink" Target="https://eur-lex.europa.eu/resource.html?uri=cellar:b828d165-1c22-11ea-8c1f-01aa75ed71a1.0002.02/DOC_1&amp;format=PDF" TargetMode="External"/><Relationship Id="rId11" Type="http://schemas.openxmlformats.org/officeDocument/2006/relationships/image" Target="../media/image23.emf"/><Relationship Id="rId5" Type="http://schemas.openxmlformats.org/officeDocument/2006/relationships/image" Target="../media/image19.emf"/><Relationship Id="rId15" Type="http://schemas.openxmlformats.org/officeDocument/2006/relationships/image" Target="../media/image27.emf"/><Relationship Id="rId10" Type="http://schemas.openxmlformats.org/officeDocument/2006/relationships/image" Target="../media/image2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1.emf"/><Relationship Id="rId14" Type="http://schemas.openxmlformats.org/officeDocument/2006/relationships/image" Target="../media/image2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CDE4C0-9B2B-4362-85DF-5D69B6936AD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79E5C-470F-4E5B-8885-1FB500F9CB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49068A2-4400-4BC3-9F03-153F007FD9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sz="2400" dirty="0"/>
              <a:t>Åbent Forum ’22, Odense</a:t>
            </a:r>
            <a:br>
              <a:rPr lang="da-DK" sz="2400" dirty="0"/>
            </a:br>
            <a:r>
              <a:rPr lang="da-DK" sz="2000" dirty="0"/>
              <a:t>Session: Modeller for samspil - udfordring til innovation - ”Hvem har bolden”</a:t>
            </a:r>
            <a:endParaRPr lang="da-DK" sz="24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814BD79-7528-4DBE-8446-41EEFCB1F1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sz="1600" dirty="0"/>
              <a:t>Maria Faragó, Water </a:t>
            </a:r>
            <a:r>
              <a:rPr lang="da-DK" sz="1600" dirty="0" err="1"/>
              <a:t>Sustainability</a:t>
            </a:r>
            <a:r>
              <a:rPr lang="da-DK" sz="1600" dirty="0"/>
              <a:t> Specialist</a:t>
            </a:r>
          </a:p>
          <a:p>
            <a:r>
              <a:rPr lang="da-DK" sz="1600" dirty="0"/>
              <a:t>02-11-2022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6C289F-B477-4B0A-8BEC-4EE5CC0BDF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000" y="1650119"/>
            <a:ext cx="10485800" cy="1476000"/>
          </a:xfrm>
        </p:spPr>
        <p:txBody>
          <a:bodyPr/>
          <a:lstStyle/>
          <a:p>
            <a:r>
              <a:rPr lang="da-DK" sz="3200" dirty="0"/>
              <a:t>Hvorfor </a:t>
            </a:r>
            <a:r>
              <a:rPr lang="da-DK" sz="3200" b="1" dirty="0"/>
              <a:t>samarbejde</a:t>
            </a:r>
            <a:r>
              <a:rPr lang="da-DK" sz="3200" dirty="0"/>
              <a:t> om værktøjer til brug i </a:t>
            </a:r>
            <a:r>
              <a:rPr lang="da-DK" sz="3200" b="1" dirty="0"/>
              <a:t>bæredygtighedsvurderinger</a:t>
            </a:r>
            <a:r>
              <a:rPr lang="da-DK" sz="3200" dirty="0"/>
              <a:t> i vandsektoren er at foretrække</a:t>
            </a:r>
          </a:p>
        </p:txBody>
      </p:sp>
      <p:pic>
        <p:nvPicPr>
          <p:cNvPr id="24" name="Picture 23" descr="Colleagues huddle">
            <a:extLst>
              <a:ext uri="{FF2B5EF4-FFF2-40B4-BE49-F238E27FC236}">
                <a16:creationId xmlns:a16="http://schemas.microsoft.com/office/drawing/2014/main" id="{9514D292-0217-4856-9F73-B0D364582A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837" y="4231906"/>
            <a:ext cx="3849881" cy="2566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6473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AD58F-373C-45B4-ACB5-71A4C3419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 gode eksempler og den gode inspi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52C5CB-F58B-48E8-A2E8-1134C832F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7C36209-01C9-4A76-89A1-FCF989DEC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800" y="3284984"/>
            <a:ext cx="3562350" cy="31813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784A8A2-1184-4983-BFF0-3F6B7BA9951A}"/>
              </a:ext>
            </a:extLst>
          </p:cNvPr>
          <p:cNvSpPr/>
          <p:nvPr/>
        </p:nvSpPr>
        <p:spPr>
          <a:xfrm>
            <a:off x="4287807" y="3975218"/>
            <a:ext cx="754539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 lvl="1">
              <a:spcBef>
                <a:spcPct val="20000"/>
              </a:spcBef>
            </a:pPr>
            <a:r>
              <a:rPr lang="da-DK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ålet: Udvikle et </a:t>
            </a:r>
            <a:r>
              <a:rPr lang="da-DK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atisk framework til vurdering (kvantificering) af bæredygtigheden af spildevandsbehandlings- og ressourcegenvindingsteknologier</a:t>
            </a:r>
            <a:r>
              <a:rPr lang="da-DK" sz="20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som kan hjælpe forsyninger med at tage bedre informerede og bæredygtige beslutninger 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CD32B737-76A6-4827-87EE-46A24D537EFA}"/>
              </a:ext>
            </a:extLst>
          </p:cNvPr>
          <p:cNvSpPr txBox="1">
            <a:spLocks/>
          </p:cNvSpPr>
          <p:nvPr/>
        </p:nvSpPr>
        <p:spPr>
          <a:xfrm>
            <a:off x="348659" y="1268760"/>
            <a:ext cx="10840028" cy="27064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  <a:t>VUDP </a:t>
            </a:r>
            <a:r>
              <a:rPr lang="en-GB" sz="4800" dirty="0" err="1">
                <a:solidFill>
                  <a:schemeClr val="tx1"/>
                </a:solidFill>
                <a:latin typeface="Calibri" panose="020F0502020204030204" pitchFamily="34" charset="0"/>
              </a:rPr>
              <a:t>projekt</a:t>
            </a:r>
            <a: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  <a:t>: Den </a:t>
            </a:r>
            <a:r>
              <a:rPr lang="en-GB" sz="4800" dirty="0" err="1">
                <a:solidFill>
                  <a:schemeClr val="tx1"/>
                </a:solidFill>
                <a:latin typeface="Calibri" panose="020F0502020204030204" pitchFamily="34" charset="0"/>
              </a:rPr>
              <a:t>Miljøeffektive</a:t>
            </a:r>
            <a: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b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GB" sz="4800" dirty="0" err="1">
                <a:solidFill>
                  <a:schemeClr val="tx1"/>
                </a:solidFill>
                <a:latin typeface="Calibri" panose="020F0502020204030204" pitchFamily="34" charset="0"/>
              </a:rPr>
              <a:t>ressourceanlægsmodel</a:t>
            </a:r>
            <a: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  <a:t> (MERM)</a:t>
            </a:r>
            <a:br>
              <a:rPr lang="en-GB" sz="480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endParaRPr lang="en-GB" sz="48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B573C7F-C10B-41F7-B4B1-61D6F27836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9682" y="0"/>
            <a:ext cx="2714476" cy="266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199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Content Placeholder 4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CH" i="1" dirty="0"/>
          </a:p>
        </p:txBody>
      </p:sp>
      <p:grpSp>
        <p:nvGrpSpPr>
          <p:cNvPr id="18434" name="POWER_USER_DATA_MAP" descr="{&quot;IsGrandientColor&quot;:false,&quot;GradientColor&quot;:&quot;#D9D9D9&quot;,&quot;IsRangesColor&quot;:true,&quot;RangesSettings&quot;:[{&quot;RangeColorHexa&quot;:&quot;#72849C&quot;,&quot;ComparisonValue&quot;:1.0,&quot;RangeOperator&quot;:1,&quot;RangeComparison&quot;:0},{&quot;RangeColorHexa&quot;:&quot;#00827D&quot;,&quot;ComparisonValue&quot;:1.0,&quot;RangeOperator&quot;:1,&quot;RangeComparison&quot;:0}],&quot;RangeName&quot;:&quot;POWER_USER_EXCEL_MAP_57CBD72E_985D_4DA9_952D_8528415E771F&quot;,&quot;Version&quot;:&quot;1.6.1123.0&quot;}"/>
          <p:cNvGrpSpPr>
            <a:grpSpLocks noChangeAspect="1"/>
          </p:cNvGrpSpPr>
          <p:nvPr/>
        </p:nvGrpSpPr>
        <p:grpSpPr bwMode="auto">
          <a:xfrm>
            <a:off x="1931961" y="1905201"/>
            <a:ext cx="4747595" cy="3838075"/>
            <a:chOff x="2929731" y="1504951"/>
            <a:chExt cx="6332538" cy="5118099"/>
          </a:xfrm>
        </p:grpSpPr>
        <p:grpSp>
          <p:nvGrpSpPr>
            <p:cNvPr id="18442" name="Denmark"/>
            <p:cNvGrpSpPr>
              <a:grpSpLocks noChangeAspect="1"/>
            </p:cNvGrpSpPr>
            <p:nvPr/>
          </p:nvGrpSpPr>
          <p:grpSpPr bwMode="auto">
            <a:xfrm>
              <a:off x="2929731" y="1504951"/>
              <a:ext cx="6332538" cy="5118099"/>
              <a:chOff x="3800634" y="1643691"/>
              <a:chExt cx="6332538" cy="5118099"/>
            </a:xfrm>
          </p:grpSpPr>
          <p:grpSp>
            <p:nvGrpSpPr>
              <p:cNvPr id="6" name="Denmark"/>
              <p:cNvGrpSpPr/>
              <p:nvPr/>
            </p:nvGrpSpPr>
            <p:grpSpPr>
              <a:xfrm>
                <a:off x="3800634" y="1643691"/>
                <a:ext cx="6332538" cy="5118099"/>
                <a:chOff x="3349625" y="995363"/>
                <a:chExt cx="6332538" cy="5118099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38" name="Capital Region of Denmark" descr="{&quot;Key&quot;:&quot;capital region of denmark&quot;,&quot;Name&quot;:&quot;Capital Region of Denmark&quot;,&quot;Value&quot;:1.0,&quot;Formula&quot;:&quot;1&quot;,&quot;Text&quot;:&quot;1&quot;,&quot;OfficeApplication&quot;:1,&quot;HasValue&quot;:true}"/>
                <p:cNvSpPr>
                  <a:spLocks noEditPoints="1"/>
                </p:cNvSpPr>
                <p:nvPr/>
              </p:nvSpPr>
              <p:spPr bwMode="auto">
                <a:xfrm>
                  <a:off x="6719888" y="3649663"/>
                  <a:ext cx="2962275" cy="1801812"/>
                </a:xfrm>
                <a:custGeom>
                  <a:avLst/>
                  <a:gdLst>
                    <a:gd name="T0" fmla="*/ 1685 w 1866"/>
                    <a:gd name="T1" fmla="*/ 879 h 1135"/>
                    <a:gd name="T2" fmla="*/ 1745 w 1866"/>
                    <a:gd name="T3" fmla="*/ 917 h 1135"/>
                    <a:gd name="T4" fmla="*/ 1827 w 1866"/>
                    <a:gd name="T5" fmla="*/ 975 h 1135"/>
                    <a:gd name="T6" fmla="*/ 1863 w 1866"/>
                    <a:gd name="T7" fmla="*/ 997 h 1135"/>
                    <a:gd name="T8" fmla="*/ 1864 w 1866"/>
                    <a:gd name="T9" fmla="*/ 1035 h 1135"/>
                    <a:gd name="T10" fmla="*/ 1847 w 1866"/>
                    <a:gd name="T11" fmla="*/ 1077 h 1135"/>
                    <a:gd name="T12" fmla="*/ 1824 w 1866"/>
                    <a:gd name="T13" fmla="*/ 1134 h 1135"/>
                    <a:gd name="T14" fmla="*/ 1712 w 1866"/>
                    <a:gd name="T15" fmla="*/ 1092 h 1135"/>
                    <a:gd name="T16" fmla="*/ 1614 w 1866"/>
                    <a:gd name="T17" fmla="*/ 1043 h 1135"/>
                    <a:gd name="T18" fmla="*/ 1600 w 1866"/>
                    <a:gd name="T19" fmla="*/ 1022 h 1135"/>
                    <a:gd name="T20" fmla="*/ 1611 w 1866"/>
                    <a:gd name="T21" fmla="*/ 939 h 1135"/>
                    <a:gd name="T22" fmla="*/ 1649 w 1866"/>
                    <a:gd name="T23" fmla="*/ 829 h 1135"/>
                    <a:gd name="T24" fmla="*/ 503 w 1866"/>
                    <a:gd name="T25" fmla="*/ 484 h 1135"/>
                    <a:gd name="T26" fmla="*/ 520 w 1866"/>
                    <a:gd name="T27" fmla="*/ 458 h 1135"/>
                    <a:gd name="T28" fmla="*/ 529 w 1866"/>
                    <a:gd name="T29" fmla="*/ 515 h 1135"/>
                    <a:gd name="T30" fmla="*/ 505 w 1866"/>
                    <a:gd name="T31" fmla="*/ 511 h 1135"/>
                    <a:gd name="T32" fmla="*/ 445 w 1866"/>
                    <a:gd name="T33" fmla="*/ 443 h 1135"/>
                    <a:gd name="T34" fmla="*/ 443 w 1866"/>
                    <a:gd name="T35" fmla="*/ 455 h 1135"/>
                    <a:gd name="T36" fmla="*/ 449 w 1866"/>
                    <a:gd name="T37" fmla="*/ 479 h 1135"/>
                    <a:gd name="T38" fmla="*/ 471 w 1866"/>
                    <a:gd name="T39" fmla="*/ 517 h 1135"/>
                    <a:gd name="T40" fmla="*/ 443 w 1866"/>
                    <a:gd name="T41" fmla="*/ 554 h 1135"/>
                    <a:gd name="T42" fmla="*/ 376 w 1866"/>
                    <a:gd name="T43" fmla="*/ 536 h 1135"/>
                    <a:gd name="T44" fmla="*/ 426 w 1866"/>
                    <a:gd name="T45" fmla="*/ 447 h 1135"/>
                    <a:gd name="T46" fmla="*/ 433 w 1866"/>
                    <a:gd name="T47" fmla="*/ 444 h 1135"/>
                    <a:gd name="T48" fmla="*/ 92 w 1866"/>
                    <a:gd name="T49" fmla="*/ 246 h 1135"/>
                    <a:gd name="T50" fmla="*/ 117 w 1866"/>
                    <a:gd name="T51" fmla="*/ 321 h 1135"/>
                    <a:gd name="T52" fmla="*/ 125 w 1866"/>
                    <a:gd name="T53" fmla="*/ 364 h 1135"/>
                    <a:gd name="T54" fmla="*/ 124 w 1866"/>
                    <a:gd name="T55" fmla="*/ 393 h 1135"/>
                    <a:gd name="T56" fmla="*/ 95 w 1866"/>
                    <a:gd name="T57" fmla="*/ 409 h 1135"/>
                    <a:gd name="T58" fmla="*/ 50 w 1866"/>
                    <a:gd name="T59" fmla="*/ 386 h 1135"/>
                    <a:gd name="T60" fmla="*/ 1 w 1866"/>
                    <a:gd name="T61" fmla="*/ 375 h 1135"/>
                    <a:gd name="T62" fmla="*/ 43 w 1866"/>
                    <a:gd name="T63" fmla="*/ 315 h 1135"/>
                    <a:gd name="T64" fmla="*/ 49 w 1866"/>
                    <a:gd name="T65" fmla="*/ 239 h 1135"/>
                    <a:gd name="T66" fmla="*/ 285 w 1866"/>
                    <a:gd name="T67" fmla="*/ 10 h 1135"/>
                    <a:gd name="T68" fmla="*/ 429 w 1866"/>
                    <a:gd name="T69" fmla="*/ 87 h 1135"/>
                    <a:gd name="T70" fmla="*/ 405 w 1866"/>
                    <a:gd name="T71" fmla="*/ 135 h 1135"/>
                    <a:gd name="T72" fmla="*/ 395 w 1866"/>
                    <a:gd name="T73" fmla="*/ 248 h 1135"/>
                    <a:gd name="T74" fmla="*/ 415 w 1866"/>
                    <a:gd name="T75" fmla="*/ 399 h 1135"/>
                    <a:gd name="T76" fmla="*/ 427 w 1866"/>
                    <a:gd name="T77" fmla="*/ 405 h 1135"/>
                    <a:gd name="T78" fmla="*/ 427 w 1866"/>
                    <a:gd name="T79" fmla="*/ 423 h 1135"/>
                    <a:gd name="T80" fmla="*/ 405 w 1866"/>
                    <a:gd name="T81" fmla="*/ 467 h 1135"/>
                    <a:gd name="T82" fmla="*/ 395 w 1866"/>
                    <a:gd name="T83" fmla="*/ 485 h 1135"/>
                    <a:gd name="T84" fmla="*/ 374 w 1866"/>
                    <a:gd name="T85" fmla="*/ 496 h 1135"/>
                    <a:gd name="T86" fmla="*/ 339 w 1866"/>
                    <a:gd name="T87" fmla="*/ 521 h 1135"/>
                    <a:gd name="T88" fmla="*/ 337 w 1866"/>
                    <a:gd name="T89" fmla="*/ 515 h 1135"/>
                    <a:gd name="T90" fmla="*/ 304 w 1866"/>
                    <a:gd name="T91" fmla="*/ 520 h 1135"/>
                    <a:gd name="T92" fmla="*/ 293 w 1866"/>
                    <a:gd name="T93" fmla="*/ 536 h 1135"/>
                    <a:gd name="T94" fmla="*/ 243 w 1866"/>
                    <a:gd name="T95" fmla="*/ 508 h 1135"/>
                    <a:gd name="T96" fmla="*/ 176 w 1866"/>
                    <a:gd name="T97" fmla="*/ 497 h 1135"/>
                    <a:gd name="T98" fmla="*/ 213 w 1866"/>
                    <a:gd name="T99" fmla="*/ 392 h 1135"/>
                    <a:gd name="T100" fmla="*/ 138 w 1866"/>
                    <a:gd name="T101" fmla="*/ 350 h 1135"/>
                    <a:gd name="T102" fmla="*/ 117 w 1866"/>
                    <a:gd name="T103" fmla="*/ 296 h 1135"/>
                    <a:gd name="T104" fmla="*/ 119 w 1866"/>
                    <a:gd name="T105" fmla="*/ 245 h 1135"/>
                    <a:gd name="T106" fmla="*/ 90 w 1866"/>
                    <a:gd name="T107" fmla="*/ 170 h 1135"/>
                    <a:gd name="T108" fmla="*/ 26 w 1866"/>
                    <a:gd name="T109" fmla="*/ 189 h 1135"/>
                    <a:gd name="T110" fmla="*/ 27 w 1866"/>
                    <a:gd name="T111" fmla="*/ 143 h 1135"/>
                    <a:gd name="T112" fmla="*/ 262 w 1866"/>
                    <a:gd name="T113" fmla="*/ 0 h 1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66" h="1135">
                      <a:moveTo>
                        <a:pt x="1652" y="833"/>
                      </a:moveTo>
                      <a:lnTo>
                        <a:pt x="1652" y="838"/>
                      </a:lnTo>
                      <a:lnTo>
                        <a:pt x="1661" y="843"/>
                      </a:lnTo>
                      <a:lnTo>
                        <a:pt x="1661" y="845"/>
                      </a:lnTo>
                      <a:lnTo>
                        <a:pt x="1668" y="851"/>
                      </a:lnTo>
                      <a:lnTo>
                        <a:pt x="1679" y="874"/>
                      </a:lnTo>
                      <a:lnTo>
                        <a:pt x="1685" y="879"/>
                      </a:lnTo>
                      <a:lnTo>
                        <a:pt x="1692" y="879"/>
                      </a:lnTo>
                      <a:lnTo>
                        <a:pt x="1695" y="885"/>
                      </a:lnTo>
                      <a:lnTo>
                        <a:pt x="1707" y="890"/>
                      </a:lnTo>
                      <a:lnTo>
                        <a:pt x="1712" y="899"/>
                      </a:lnTo>
                      <a:lnTo>
                        <a:pt x="1733" y="907"/>
                      </a:lnTo>
                      <a:lnTo>
                        <a:pt x="1741" y="915"/>
                      </a:lnTo>
                      <a:lnTo>
                        <a:pt x="1745" y="917"/>
                      </a:lnTo>
                      <a:lnTo>
                        <a:pt x="1760" y="911"/>
                      </a:lnTo>
                      <a:lnTo>
                        <a:pt x="1765" y="916"/>
                      </a:lnTo>
                      <a:lnTo>
                        <a:pt x="1771" y="932"/>
                      </a:lnTo>
                      <a:lnTo>
                        <a:pt x="1789" y="949"/>
                      </a:lnTo>
                      <a:lnTo>
                        <a:pt x="1801" y="954"/>
                      </a:lnTo>
                      <a:lnTo>
                        <a:pt x="1811" y="965"/>
                      </a:lnTo>
                      <a:lnTo>
                        <a:pt x="1827" y="975"/>
                      </a:lnTo>
                      <a:lnTo>
                        <a:pt x="1842" y="979"/>
                      </a:lnTo>
                      <a:lnTo>
                        <a:pt x="1844" y="982"/>
                      </a:lnTo>
                      <a:lnTo>
                        <a:pt x="1855" y="981"/>
                      </a:lnTo>
                      <a:lnTo>
                        <a:pt x="1859" y="984"/>
                      </a:lnTo>
                      <a:lnTo>
                        <a:pt x="1859" y="991"/>
                      </a:lnTo>
                      <a:lnTo>
                        <a:pt x="1864" y="991"/>
                      </a:lnTo>
                      <a:lnTo>
                        <a:pt x="1863" y="997"/>
                      </a:lnTo>
                      <a:lnTo>
                        <a:pt x="1865" y="1002"/>
                      </a:lnTo>
                      <a:lnTo>
                        <a:pt x="1860" y="1005"/>
                      </a:lnTo>
                      <a:lnTo>
                        <a:pt x="1858" y="1012"/>
                      </a:lnTo>
                      <a:lnTo>
                        <a:pt x="1859" y="1017"/>
                      </a:lnTo>
                      <a:lnTo>
                        <a:pt x="1860" y="1022"/>
                      </a:lnTo>
                      <a:lnTo>
                        <a:pt x="1865" y="1033"/>
                      </a:lnTo>
                      <a:lnTo>
                        <a:pt x="1864" y="1035"/>
                      </a:lnTo>
                      <a:lnTo>
                        <a:pt x="1866" y="1041"/>
                      </a:lnTo>
                      <a:lnTo>
                        <a:pt x="1862" y="1049"/>
                      </a:lnTo>
                      <a:lnTo>
                        <a:pt x="1855" y="1055"/>
                      </a:lnTo>
                      <a:lnTo>
                        <a:pt x="1856" y="1063"/>
                      </a:lnTo>
                      <a:lnTo>
                        <a:pt x="1855" y="1067"/>
                      </a:lnTo>
                      <a:lnTo>
                        <a:pt x="1850" y="1068"/>
                      </a:lnTo>
                      <a:lnTo>
                        <a:pt x="1847" y="1077"/>
                      </a:lnTo>
                      <a:lnTo>
                        <a:pt x="1840" y="1084"/>
                      </a:lnTo>
                      <a:lnTo>
                        <a:pt x="1841" y="1091"/>
                      </a:lnTo>
                      <a:lnTo>
                        <a:pt x="1846" y="1096"/>
                      </a:lnTo>
                      <a:lnTo>
                        <a:pt x="1843" y="1103"/>
                      </a:lnTo>
                      <a:lnTo>
                        <a:pt x="1845" y="1108"/>
                      </a:lnTo>
                      <a:lnTo>
                        <a:pt x="1837" y="1115"/>
                      </a:lnTo>
                      <a:lnTo>
                        <a:pt x="1824" y="1134"/>
                      </a:lnTo>
                      <a:lnTo>
                        <a:pt x="1818" y="1135"/>
                      </a:lnTo>
                      <a:lnTo>
                        <a:pt x="1802" y="1129"/>
                      </a:lnTo>
                      <a:lnTo>
                        <a:pt x="1790" y="1128"/>
                      </a:lnTo>
                      <a:lnTo>
                        <a:pt x="1757" y="1119"/>
                      </a:lnTo>
                      <a:lnTo>
                        <a:pt x="1741" y="1108"/>
                      </a:lnTo>
                      <a:lnTo>
                        <a:pt x="1735" y="1108"/>
                      </a:lnTo>
                      <a:lnTo>
                        <a:pt x="1712" y="1092"/>
                      </a:lnTo>
                      <a:lnTo>
                        <a:pt x="1689" y="1081"/>
                      </a:lnTo>
                      <a:lnTo>
                        <a:pt x="1683" y="1083"/>
                      </a:lnTo>
                      <a:lnTo>
                        <a:pt x="1661" y="1070"/>
                      </a:lnTo>
                      <a:lnTo>
                        <a:pt x="1651" y="1072"/>
                      </a:lnTo>
                      <a:lnTo>
                        <a:pt x="1634" y="1061"/>
                      </a:lnTo>
                      <a:lnTo>
                        <a:pt x="1622" y="1045"/>
                      </a:lnTo>
                      <a:lnTo>
                        <a:pt x="1614" y="1043"/>
                      </a:lnTo>
                      <a:lnTo>
                        <a:pt x="1609" y="1036"/>
                      </a:lnTo>
                      <a:lnTo>
                        <a:pt x="1603" y="1033"/>
                      </a:lnTo>
                      <a:lnTo>
                        <a:pt x="1604" y="1031"/>
                      </a:lnTo>
                      <a:lnTo>
                        <a:pt x="1607" y="1029"/>
                      </a:lnTo>
                      <a:lnTo>
                        <a:pt x="1604" y="1025"/>
                      </a:lnTo>
                      <a:lnTo>
                        <a:pt x="1598" y="1027"/>
                      </a:lnTo>
                      <a:lnTo>
                        <a:pt x="1600" y="1022"/>
                      </a:lnTo>
                      <a:lnTo>
                        <a:pt x="1607" y="1018"/>
                      </a:lnTo>
                      <a:lnTo>
                        <a:pt x="1610" y="1011"/>
                      </a:lnTo>
                      <a:lnTo>
                        <a:pt x="1607" y="1004"/>
                      </a:lnTo>
                      <a:lnTo>
                        <a:pt x="1613" y="994"/>
                      </a:lnTo>
                      <a:lnTo>
                        <a:pt x="1612" y="955"/>
                      </a:lnTo>
                      <a:lnTo>
                        <a:pt x="1609" y="942"/>
                      </a:lnTo>
                      <a:lnTo>
                        <a:pt x="1611" y="939"/>
                      </a:lnTo>
                      <a:lnTo>
                        <a:pt x="1609" y="930"/>
                      </a:lnTo>
                      <a:lnTo>
                        <a:pt x="1615" y="904"/>
                      </a:lnTo>
                      <a:lnTo>
                        <a:pt x="1638" y="859"/>
                      </a:lnTo>
                      <a:lnTo>
                        <a:pt x="1641" y="850"/>
                      </a:lnTo>
                      <a:lnTo>
                        <a:pt x="1638" y="846"/>
                      </a:lnTo>
                      <a:lnTo>
                        <a:pt x="1637" y="841"/>
                      </a:lnTo>
                      <a:lnTo>
                        <a:pt x="1649" y="829"/>
                      </a:lnTo>
                      <a:lnTo>
                        <a:pt x="1652" y="833"/>
                      </a:lnTo>
                      <a:close/>
                      <a:moveTo>
                        <a:pt x="503" y="503"/>
                      </a:moveTo>
                      <a:lnTo>
                        <a:pt x="500" y="492"/>
                      </a:lnTo>
                      <a:lnTo>
                        <a:pt x="503" y="490"/>
                      </a:lnTo>
                      <a:lnTo>
                        <a:pt x="501" y="487"/>
                      </a:lnTo>
                      <a:lnTo>
                        <a:pt x="502" y="485"/>
                      </a:lnTo>
                      <a:lnTo>
                        <a:pt x="503" y="484"/>
                      </a:lnTo>
                      <a:lnTo>
                        <a:pt x="503" y="473"/>
                      </a:lnTo>
                      <a:lnTo>
                        <a:pt x="507" y="470"/>
                      </a:lnTo>
                      <a:lnTo>
                        <a:pt x="505" y="467"/>
                      </a:lnTo>
                      <a:lnTo>
                        <a:pt x="507" y="463"/>
                      </a:lnTo>
                      <a:lnTo>
                        <a:pt x="511" y="463"/>
                      </a:lnTo>
                      <a:lnTo>
                        <a:pt x="518" y="462"/>
                      </a:lnTo>
                      <a:lnTo>
                        <a:pt x="520" y="458"/>
                      </a:lnTo>
                      <a:lnTo>
                        <a:pt x="525" y="463"/>
                      </a:lnTo>
                      <a:lnTo>
                        <a:pt x="526" y="470"/>
                      </a:lnTo>
                      <a:lnTo>
                        <a:pt x="527" y="490"/>
                      </a:lnTo>
                      <a:lnTo>
                        <a:pt x="529" y="491"/>
                      </a:lnTo>
                      <a:lnTo>
                        <a:pt x="528" y="508"/>
                      </a:lnTo>
                      <a:lnTo>
                        <a:pt x="532" y="510"/>
                      </a:lnTo>
                      <a:lnTo>
                        <a:pt x="529" y="515"/>
                      </a:lnTo>
                      <a:lnTo>
                        <a:pt x="535" y="520"/>
                      </a:lnTo>
                      <a:lnTo>
                        <a:pt x="528" y="524"/>
                      </a:lnTo>
                      <a:lnTo>
                        <a:pt x="518" y="524"/>
                      </a:lnTo>
                      <a:lnTo>
                        <a:pt x="516" y="516"/>
                      </a:lnTo>
                      <a:lnTo>
                        <a:pt x="512" y="513"/>
                      </a:lnTo>
                      <a:lnTo>
                        <a:pt x="512" y="509"/>
                      </a:lnTo>
                      <a:lnTo>
                        <a:pt x="505" y="511"/>
                      </a:lnTo>
                      <a:lnTo>
                        <a:pt x="503" y="507"/>
                      </a:lnTo>
                      <a:lnTo>
                        <a:pt x="505" y="508"/>
                      </a:lnTo>
                      <a:lnTo>
                        <a:pt x="506" y="504"/>
                      </a:lnTo>
                      <a:lnTo>
                        <a:pt x="503" y="503"/>
                      </a:lnTo>
                      <a:close/>
                      <a:moveTo>
                        <a:pt x="433" y="444"/>
                      </a:moveTo>
                      <a:lnTo>
                        <a:pt x="444" y="440"/>
                      </a:lnTo>
                      <a:lnTo>
                        <a:pt x="445" y="443"/>
                      </a:lnTo>
                      <a:lnTo>
                        <a:pt x="437" y="450"/>
                      </a:lnTo>
                      <a:lnTo>
                        <a:pt x="442" y="460"/>
                      </a:lnTo>
                      <a:lnTo>
                        <a:pt x="444" y="459"/>
                      </a:lnTo>
                      <a:lnTo>
                        <a:pt x="439" y="450"/>
                      </a:lnTo>
                      <a:lnTo>
                        <a:pt x="445" y="446"/>
                      </a:lnTo>
                      <a:lnTo>
                        <a:pt x="447" y="450"/>
                      </a:lnTo>
                      <a:lnTo>
                        <a:pt x="443" y="455"/>
                      </a:lnTo>
                      <a:lnTo>
                        <a:pt x="450" y="451"/>
                      </a:lnTo>
                      <a:lnTo>
                        <a:pt x="453" y="455"/>
                      </a:lnTo>
                      <a:lnTo>
                        <a:pt x="447" y="462"/>
                      </a:lnTo>
                      <a:lnTo>
                        <a:pt x="444" y="459"/>
                      </a:lnTo>
                      <a:lnTo>
                        <a:pt x="442" y="460"/>
                      </a:lnTo>
                      <a:lnTo>
                        <a:pt x="443" y="466"/>
                      </a:lnTo>
                      <a:lnTo>
                        <a:pt x="449" y="479"/>
                      </a:lnTo>
                      <a:lnTo>
                        <a:pt x="453" y="482"/>
                      </a:lnTo>
                      <a:lnTo>
                        <a:pt x="453" y="489"/>
                      </a:lnTo>
                      <a:lnTo>
                        <a:pt x="458" y="493"/>
                      </a:lnTo>
                      <a:lnTo>
                        <a:pt x="457" y="497"/>
                      </a:lnTo>
                      <a:lnTo>
                        <a:pt x="468" y="498"/>
                      </a:lnTo>
                      <a:lnTo>
                        <a:pt x="471" y="502"/>
                      </a:lnTo>
                      <a:lnTo>
                        <a:pt x="471" y="517"/>
                      </a:lnTo>
                      <a:lnTo>
                        <a:pt x="465" y="526"/>
                      </a:lnTo>
                      <a:lnTo>
                        <a:pt x="468" y="536"/>
                      </a:lnTo>
                      <a:lnTo>
                        <a:pt x="472" y="538"/>
                      </a:lnTo>
                      <a:lnTo>
                        <a:pt x="469" y="539"/>
                      </a:lnTo>
                      <a:lnTo>
                        <a:pt x="471" y="542"/>
                      </a:lnTo>
                      <a:lnTo>
                        <a:pt x="462" y="548"/>
                      </a:lnTo>
                      <a:lnTo>
                        <a:pt x="443" y="554"/>
                      </a:lnTo>
                      <a:lnTo>
                        <a:pt x="435" y="564"/>
                      </a:lnTo>
                      <a:lnTo>
                        <a:pt x="421" y="575"/>
                      </a:lnTo>
                      <a:lnTo>
                        <a:pt x="405" y="570"/>
                      </a:lnTo>
                      <a:lnTo>
                        <a:pt x="402" y="556"/>
                      </a:lnTo>
                      <a:lnTo>
                        <a:pt x="392" y="558"/>
                      </a:lnTo>
                      <a:lnTo>
                        <a:pt x="385" y="554"/>
                      </a:lnTo>
                      <a:lnTo>
                        <a:pt x="376" y="536"/>
                      </a:lnTo>
                      <a:lnTo>
                        <a:pt x="374" y="522"/>
                      </a:lnTo>
                      <a:lnTo>
                        <a:pt x="388" y="500"/>
                      </a:lnTo>
                      <a:lnTo>
                        <a:pt x="399" y="490"/>
                      </a:lnTo>
                      <a:lnTo>
                        <a:pt x="408" y="469"/>
                      </a:lnTo>
                      <a:lnTo>
                        <a:pt x="414" y="461"/>
                      </a:lnTo>
                      <a:lnTo>
                        <a:pt x="423" y="453"/>
                      </a:lnTo>
                      <a:lnTo>
                        <a:pt x="426" y="447"/>
                      </a:lnTo>
                      <a:lnTo>
                        <a:pt x="428" y="447"/>
                      </a:lnTo>
                      <a:lnTo>
                        <a:pt x="429" y="442"/>
                      </a:lnTo>
                      <a:lnTo>
                        <a:pt x="429" y="440"/>
                      </a:lnTo>
                      <a:lnTo>
                        <a:pt x="430" y="434"/>
                      </a:lnTo>
                      <a:lnTo>
                        <a:pt x="439" y="434"/>
                      </a:lnTo>
                      <a:lnTo>
                        <a:pt x="441" y="437"/>
                      </a:lnTo>
                      <a:lnTo>
                        <a:pt x="433" y="444"/>
                      </a:lnTo>
                      <a:close/>
                      <a:moveTo>
                        <a:pt x="79" y="217"/>
                      </a:moveTo>
                      <a:lnTo>
                        <a:pt x="84" y="218"/>
                      </a:lnTo>
                      <a:lnTo>
                        <a:pt x="89" y="216"/>
                      </a:lnTo>
                      <a:lnTo>
                        <a:pt x="100" y="223"/>
                      </a:lnTo>
                      <a:lnTo>
                        <a:pt x="102" y="230"/>
                      </a:lnTo>
                      <a:lnTo>
                        <a:pt x="93" y="240"/>
                      </a:lnTo>
                      <a:lnTo>
                        <a:pt x="92" y="246"/>
                      </a:lnTo>
                      <a:lnTo>
                        <a:pt x="88" y="248"/>
                      </a:lnTo>
                      <a:lnTo>
                        <a:pt x="86" y="268"/>
                      </a:lnTo>
                      <a:lnTo>
                        <a:pt x="88" y="273"/>
                      </a:lnTo>
                      <a:lnTo>
                        <a:pt x="105" y="280"/>
                      </a:lnTo>
                      <a:lnTo>
                        <a:pt x="108" y="293"/>
                      </a:lnTo>
                      <a:lnTo>
                        <a:pt x="110" y="316"/>
                      </a:lnTo>
                      <a:lnTo>
                        <a:pt x="117" y="321"/>
                      </a:lnTo>
                      <a:lnTo>
                        <a:pt x="111" y="325"/>
                      </a:lnTo>
                      <a:lnTo>
                        <a:pt x="111" y="332"/>
                      </a:lnTo>
                      <a:lnTo>
                        <a:pt x="112" y="335"/>
                      </a:lnTo>
                      <a:lnTo>
                        <a:pt x="117" y="334"/>
                      </a:lnTo>
                      <a:lnTo>
                        <a:pt x="121" y="334"/>
                      </a:lnTo>
                      <a:lnTo>
                        <a:pt x="117" y="346"/>
                      </a:lnTo>
                      <a:lnTo>
                        <a:pt x="125" y="364"/>
                      </a:lnTo>
                      <a:lnTo>
                        <a:pt x="124" y="371"/>
                      </a:lnTo>
                      <a:lnTo>
                        <a:pt x="119" y="375"/>
                      </a:lnTo>
                      <a:lnTo>
                        <a:pt x="120" y="377"/>
                      </a:lnTo>
                      <a:lnTo>
                        <a:pt x="123" y="379"/>
                      </a:lnTo>
                      <a:lnTo>
                        <a:pt x="122" y="382"/>
                      </a:lnTo>
                      <a:lnTo>
                        <a:pt x="122" y="391"/>
                      </a:lnTo>
                      <a:lnTo>
                        <a:pt x="124" y="393"/>
                      </a:lnTo>
                      <a:lnTo>
                        <a:pt x="123" y="401"/>
                      </a:lnTo>
                      <a:lnTo>
                        <a:pt x="119" y="397"/>
                      </a:lnTo>
                      <a:lnTo>
                        <a:pt x="114" y="398"/>
                      </a:lnTo>
                      <a:lnTo>
                        <a:pt x="110" y="401"/>
                      </a:lnTo>
                      <a:lnTo>
                        <a:pt x="107" y="403"/>
                      </a:lnTo>
                      <a:lnTo>
                        <a:pt x="101" y="403"/>
                      </a:lnTo>
                      <a:lnTo>
                        <a:pt x="95" y="409"/>
                      </a:lnTo>
                      <a:lnTo>
                        <a:pt x="91" y="408"/>
                      </a:lnTo>
                      <a:lnTo>
                        <a:pt x="91" y="396"/>
                      </a:lnTo>
                      <a:lnTo>
                        <a:pt x="85" y="399"/>
                      </a:lnTo>
                      <a:lnTo>
                        <a:pt x="82" y="390"/>
                      </a:lnTo>
                      <a:lnTo>
                        <a:pt x="77" y="401"/>
                      </a:lnTo>
                      <a:lnTo>
                        <a:pt x="77" y="401"/>
                      </a:lnTo>
                      <a:lnTo>
                        <a:pt x="50" y="386"/>
                      </a:lnTo>
                      <a:lnTo>
                        <a:pt x="34" y="400"/>
                      </a:lnTo>
                      <a:lnTo>
                        <a:pt x="18" y="393"/>
                      </a:lnTo>
                      <a:lnTo>
                        <a:pt x="18" y="393"/>
                      </a:lnTo>
                      <a:lnTo>
                        <a:pt x="7" y="395"/>
                      </a:lnTo>
                      <a:lnTo>
                        <a:pt x="7" y="379"/>
                      </a:lnTo>
                      <a:lnTo>
                        <a:pt x="4" y="380"/>
                      </a:lnTo>
                      <a:lnTo>
                        <a:pt x="1" y="375"/>
                      </a:lnTo>
                      <a:lnTo>
                        <a:pt x="5" y="376"/>
                      </a:lnTo>
                      <a:lnTo>
                        <a:pt x="8" y="369"/>
                      </a:lnTo>
                      <a:lnTo>
                        <a:pt x="11" y="335"/>
                      </a:lnTo>
                      <a:lnTo>
                        <a:pt x="19" y="330"/>
                      </a:lnTo>
                      <a:lnTo>
                        <a:pt x="19" y="317"/>
                      </a:lnTo>
                      <a:lnTo>
                        <a:pt x="38" y="311"/>
                      </a:lnTo>
                      <a:lnTo>
                        <a:pt x="43" y="315"/>
                      </a:lnTo>
                      <a:lnTo>
                        <a:pt x="55" y="309"/>
                      </a:lnTo>
                      <a:lnTo>
                        <a:pt x="59" y="303"/>
                      </a:lnTo>
                      <a:lnTo>
                        <a:pt x="65" y="280"/>
                      </a:lnTo>
                      <a:lnTo>
                        <a:pt x="57" y="260"/>
                      </a:lnTo>
                      <a:lnTo>
                        <a:pt x="51" y="257"/>
                      </a:lnTo>
                      <a:lnTo>
                        <a:pt x="48" y="250"/>
                      </a:lnTo>
                      <a:lnTo>
                        <a:pt x="49" y="239"/>
                      </a:lnTo>
                      <a:lnTo>
                        <a:pt x="32" y="213"/>
                      </a:lnTo>
                      <a:lnTo>
                        <a:pt x="34" y="193"/>
                      </a:lnTo>
                      <a:lnTo>
                        <a:pt x="68" y="202"/>
                      </a:lnTo>
                      <a:lnTo>
                        <a:pt x="79" y="217"/>
                      </a:lnTo>
                      <a:close/>
                      <a:moveTo>
                        <a:pt x="262" y="4"/>
                      </a:moveTo>
                      <a:lnTo>
                        <a:pt x="272" y="8"/>
                      </a:lnTo>
                      <a:lnTo>
                        <a:pt x="285" y="10"/>
                      </a:lnTo>
                      <a:lnTo>
                        <a:pt x="304" y="29"/>
                      </a:lnTo>
                      <a:lnTo>
                        <a:pt x="318" y="31"/>
                      </a:lnTo>
                      <a:lnTo>
                        <a:pt x="332" y="37"/>
                      </a:lnTo>
                      <a:lnTo>
                        <a:pt x="345" y="35"/>
                      </a:lnTo>
                      <a:lnTo>
                        <a:pt x="368" y="39"/>
                      </a:lnTo>
                      <a:lnTo>
                        <a:pt x="391" y="50"/>
                      </a:lnTo>
                      <a:lnTo>
                        <a:pt x="429" y="87"/>
                      </a:lnTo>
                      <a:lnTo>
                        <a:pt x="439" y="91"/>
                      </a:lnTo>
                      <a:lnTo>
                        <a:pt x="438" y="94"/>
                      </a:lnTo>
                      <a:lnTo>
                        <a:pt x="433" y="93"/>
                      </a:lnTo>
                      <a:lnTo>
                        <a:pt x="434" y="98"/>
                      </a:lnTo>
                      <a:lnTo>
                        <a:pt x="430" y="103"/>
                      </a:lnTo>
                      <a:lnTo>
                        <a:pt x="424" y="117"/>
                      </a:lnTo>
                      <a:lnTo>
                        <a:pt x="405" y="135"/>
                      </a:lnTo>
                      <a:lnTo>
                        <a:pt x="395" y="158"/>
                      </a:lnTo>
                      <a:lnTo>
                        <a:pt x="384" y="190"/>
                      </a:lnTo>
                      <a:lnTo>
                        <a:pt x="382" y="196"/>
                      </a:lnTo>
                      <a:lnTo>
                        <a:pt x="382" y="202"/>
                      </a:lnTo>
                      <a:lnTo>
                        <a:pt x="379" y="209"/>
                      </a:lnTo>
                      <a:lnTo>
                        <a:pt x="394" y="243"/>
                      </a:lnTo>
                      <a:lnTo>
                        <a:pt x="395" y="248"/>
                      </a:lnTo>
                      <a:lnTo>
                        <a:pt x="410" y="283"/>
                      </a:lnTo>
                      <a:lnTo>
                        <a:pt x="413" y="319"/>
                      </a:lnTo>
                      <a:lnTo>
                        <a:pt x="418" y="327"/>
                      </a:lnTo>
                      <a:lnTo>
                        <a:pt x="423" y="343"/>
                      </a:lnTo>
                      <a:lnTo>
                        <a:pt x="421" y="356"/>
                      </a:lnTo>
                      <a:lnTo>
                        <a:pt x="426" y="372"/>
                      </a:lnTo>
                      <a:lnTo>
                        <a:pt x="415" y="399"/>
                      </a:lnTo>
                      <a:lnTo>
                        <a:pt x="419" y="403"/>
                      </a:lnTo>
                      <a:lnTo>
                        <a:pt x="417" y="406"/>
                      </a:lnTo>
                      <a:lnTo>
                        <a:pt x="417" y="415"/>
                      </a:lnTo>
                      <a:lnTo>
                        <a:pt x="420" y="418"/>
                      </a:lnTo>
                      <a:lnTo>
                        <a:pt x="423" y="411"/>
                      </a:lnTo>
                      <a:lnTo>
                        <a:pt x="426" y="410"/>
                      </a:lnTo>
                      <a:lnTo>
                        <a:pt x="427" y="405"/>
                      </a:lnTo>
                      <a:lnTo>
                        <a:pt x="438" y="413"/>
                      </a:lnTo>
                      <a:lnTo>
                        <a:pt x="435" y="415"/>
                      </a:lnTo>
                      <a:lnTo>
                        <a:pt x="437" y="416"/>
                      </a:lnTo>
                      <a:lnTo>
                        <a:pt x="432" y="421"/>
                      </a:lnTo>
                      <a:lnTo>
                        <a:pt x="423" y="418"/>
                      </a:lnTo>
                      <a:lnTo>
                        <a:pt x="423" y="420"/>
                      </a:lnTo>
                      <a:lnTo>
                        <a:pt x="427" y="423"/>
                      </a:lnTo>
                      <a:lnTo>
                        <a:pt x="421" y="424"/>
                      </a:lnTo>
                      <a:lnTo>
                        <a:pt x="422" y="428"/>
                      </a:lnTo>
                      <a:lnTo>
                        <a:pt x="423" y="435"/>
                      </a:lnTo>
                      <a:lnTo>
                        <a:pt x="425" y="435"/>
                      </a:lnTo>
                      <a:lnTo>
                        <a:pt x="426" y="440"/>
                      </a:lnTo>
                      <a:lnTo>
                        <a:pt x="422" y="452"/>
                      </a:lnTo>
                      <a:lnTo>
                        <a:pt x="405" y="467"/>
                      </a:lnTo>
                      <a:lnTo>
                        <a:pt x="405" y="470"/>
                      </a:lnTo>
                      <a:lnTo>
                        <a:pt x="405" y="471"/>
                      </a:lnTo>
                      <a:lnTo>
                        <a:pt x="403" y="477"/>
                      </a:lnTo>
                      <a:lnTo>
                        <a:pt x="400" y="484"/>
                      </a:lnTo>
                      <a:lnTo>
                        <a:pt x="396" y="479"/>
                      </a:lnTo>
                      <a:lnTo>
                        <a:pt x="394" y="480"/>
                      </a:lnTo>
                      <a:lnTo>
                        <a:pt x="395" y="485"/>
                      </a:lnTo>
                      <a:lnTo>
                        <a:pt x="397" y="482"/>
                      </a:lnTo>
                      <a:lnTo>
                        <a:pt x="400" y="485"/>
                      </a:lnTo>
                      <a:lnTo>
                        <a:pt x="396" y="490"/>
                      </a:lnTo>
                      <a:lnTo>
                        <a:pt x="396" y="492"/>
                      </a:lnTo>
                      <a:lnTo>
                        <a:pt x="386" y="499"/>
                      </a:lnTo>
                      <a:lnTo>
                        <a:pt x="387" y="493"/>
                      </a:lnTo>
                      <a:lnTo>
                        <a:pt x="374" y="496"/>
                      </a:lnTo>
                      <a:lnTo>
                        <a:pt x="373" y="495"/>
                      </a:lnTo>
                      <a:lnTo>
                        <a:pt x="366" y="511"/>
                      </a:lnTo>
                      <a:lnTo>
                        <a:pt x="368" y="515"/>
                      </a:lnTo>
                      <a:lnTo>
                        <a:pt x="371" y="516"/>
                      </a:lnTo>
                      <a:lnTo>
                        <a:pt x="364" y="530"/>
                      </a:lnTo>
                      <a:lnTo>
                        <a:pt x="340" y="526"/>
                      </a:lnTo>
                      <a:lnTo>
                        <a:pt x="339" y="521"/>
                      </a:lnTo>
                      <a:lnTo>
                        <a:pt x="339" y="519"/>
                      </a:lnTo>
                      <a:lnTo>
                        <a:pt x="319" y="517"/>
                      </a:lnTo>
                      <a:lnTo>
                        <a:pt x="313" y="519"/>
                      </a:lnTo>
                      <a:lnTo>
                        <a:pt x="313" y="517"/>
                      </a:lnTo>
                      <a:lnTo>
                        <a:pt x="318" y="516"/>
                      </a:lnTo>
                      <a:lnTo>
                        <a:pt x="338" y="518"/>
                      </a:lnTo>
                      <a:lnTo>
                        <a:pt x="337" y="515"/>
                      </a:lnTo>
                      <a:lnTo>
                        <a:pt x="314" y="514"/>
                      </a:lnTo>
                      <a:lnTo>
                        <a:pt x="311" y="519"/>
                      </a:lnTo>
                      <a:lnTo>
                        <a:pt x="310" y="516"/>
                      </a:lnTo>
                      <a:lnTo>
                        <a:pt x="304" y="518"/>
                      </a:lnTo>
                      <a:lnTo>
                        <a:pt x="300" y="521"/>
                      </a:lnTo>
                      <a:lnTo>
                        <a:pt x="301" y="523"/>
                      </a:lnTo>
                      <a:lnTo>
                        <a:pt x="304" y="520"/>
                      </a:lnTo>
                      <a:lnTo>
                        <a:pt x="305" y="521"/>
                      </a:lnTo>
                      <a:lnTo>
                        <a:pt x="308" y="520"/>
                      </a:lnTo>
                      <a:lnTo>
                        <a:pt x="308" y="523"/>
                      </a:lnTo>
                      <a:lnTo>
                        <a:pt x="311" y="522"/>
                      </a:lnTo>
                      <a:lnTo>
                        <a:pt x="313" y="524"/>
                      </a:lnTo>
                      <a:lnTo>
                        <a:pt x="293" y="536"/>
                      </a:lnTo>
                      <a:lnTo>
                        <a:pt x="293" y="536"/>
                      </a:lnTo>
                      <a:lnTo>
                        <a:pt x="289" y="533"/>
                      </a:lnTo>
                      <a:lnTo>
                        <a:pt x="289" y="533"/>
                      </a:lnTo>
                      <a:lnTo>
                        <a:pt x="288" y="532"/>
                      </a:lnTo>
                      <a:lnTo>
                        <a:pt x="288" y="532"/>
                      </a:lnTo>
                      <a:lnTo>
                        <a:pt x="277" y="522"/>
                      </a:lnTo>
                      <a:lnTo>
                        <a:pt x="249" y="513"/>
                      </a:lnTo>
                      <a:lnTo>
                        <a:pt x="243" y="508"/>
                      </a:lnTo>
                      <a:lnTo>
                        <a:pt x="225" y="517"/>
                      </a:lnTo>
                      <a:lnTo>
                        <a:pt x="221" y="510"/>
                      </a:lnTo>
                      <a:lnTo>
                        <a:pt x="209" y="513"/>
                      </a:lnTo>
                      <a:lnTo>
                        <a:pt x="205" y="526"/>
                      </a:lnTo>
                      <a:lnTo>
                        <a:pt x="178" y="518"/>
                      </a:lnTo>
                      <a:lnTo>
                        <a:pt x="182" y="497"/>
                      </a:lnTo>
                      <a:lnTo>
                        <a:pt x="176" y="497"/>
                      </a:lnTo>
                      <a:lnTo>
                        <a:pt x="177" y="481"/>
                      </a:lnTo>
                      <a:lnTo>
                        <a:pt x="173" y="460"/>
                      </a:lnTo>
                      <a:lnTo>
                        <a:pt x="192" y="443"/>
                      </a:lnTo>
                      <a:lnTo>
                        <a:pt x="207" y="444"/>
                      </a:lnTo>
                      <a:lnTo>
                        <a:pt x="229" y="422"/>
                      </a:lnTo>
                      <a:lnTo>
                        <a:pt x="208" y="404"/>
                      </a:lnTo>
                      <a:lnTo>
                        <a:pt x="213" y="392"/>
                      </a:lnTo>
                      <a:lnTo>
                        <a:pt x="215" y="391"/>
                      </a:lnTo>
                      <a:lnTo>
                        <a:pt x="205" y="381"/>
                      </a:lnTo>
                      <a:lnTo>
                        <a:pt x="182" y="384"/>
                      </a:lnTo>
                      <a:lnTo>
                        <a:pt x="172" y="375"/>
                      </a:lnTo>
                      <a:lnTo>
                        <a:pt x="160" y="370"/>
                      </a:lnTo>
                      <a:lnTo>
                        <a:pt x="149" y="356"/>
                      </a:lnTo>
                      <a:lnTo>
                        <a:pt x="138" y="350"/>
                      </a:lnTo>
                      <a:lnTo>
                        <a:pt x="138" y="350"/>
                      </a:lnTo>
                      <a:lnTo>
                        <a:pt x="129" y="344"/>
                      </a:lnTo>
                      <a:lnTo>
                        <a:pt x="132" y="332"/>
                      </a:lnTo>
                      <a:lnTo>
                        <a:pt x="126" y="323"/>
                      </a:lnTo>
                      <a:lnTo>
                        <a:pt x="123" y="302"/>
                      </a:lnTo>
                      <a:lnTo>
                        <a:pt x="120" y="303"/>
                      </a:lnTo>
                      <a:lnTo>
                        <a:pt x="117" y="296"/>
                      </a:lnTo>
                      <a:lnTo>
                        <a:pt x="118" y="294"/>
                      </a:lnTo>
                      <a:lnTo>
                        <a:pt x="116" y="289"/>
                      </a:lnTo>
                      <a:lnTo>
                        <a:pt x="112" y="287"/>
                      </a:lnTo>
                      <a:lnTo>
                        <a:pt x="114" y="273"/>
                      </a:lnTo>
                      <a:lnTo>
                        <a:pt x="124" y="271"/>
                      </a:lnTo>
                      <a:lnTo>
                        <a:pt x="126" y="254"/>
                      </a:lnTo>
                      <a:lnTo>
                        <a:pt x="119" y="245"/>
                      </a:lnTo>
                      <a:lnTo>
                        <a:pt x="114" y="231"/>
                      </a:lnTo>
                      <a:lnTo>
                        <a:pt x="115" y="216"/>
                      </a:lnTo>
                      <a:lnTo>
                        <a:pt x="110" y="202"/>
                      </a:lnTo>
                      <a:lnTo>
                        <a:pt x="100" y="184"/>
                      </a:lnTo>
                      <a:lnTo>
                        <a:pt x="98" y="171"/>
                      </a:lnTo>
                      <a:lnTo>
                        <a:pt x="94" y="171"/>
                      </a:lnTo>
                      <a:lnTo>
                        <a:pt x="90" y="170"/>
                      </a:lnTo>
                      <a:lnTo>
                        <a:pt x="86" y="166"/>
                      </a:lnTo>
                      <a:lnTo>
                        <a:pt x="81" y="166"/>
                      </a:lnTo>
                      <a:lnTo>
                        <a:pt x="75" y="164"/>
                      </a:lnTo>
                      <a:lnTo>
                        <a:pt x="60" y="172"/>
                      </a:lnTo>
                      <a:lnTo>
                        <a:pt x="57" y="177"/>
                      </a:lnTo>
                      <a:lnTo>
                        <a:pt x="51" y="181"/>
                      </a:lnTo>
                      <a:lnTo>
                        <a:pt x="26" y="189"/>
                      </a:lnTo>
                      <a:lnTo>
                        <a:pt x="15" y="185"/>
                      </a:lnTo>
                      <a:lnTo>
                        <a:pt x="12" y="186"/>
                      </a:lnTo>
                      <a:lnTo>
                        <a:pt x="12" y="189"/>
                      </a:lnTo>
                      <a:lnTo>
                        <a:pt x="5" y="184"/>
                      </a:lnTo>
                      <a:lnTo>
                        <a:pt x="0" y="164"/>
                      </a:lnTo>
                      <a:lnTo>
                        <a:pt x="7" y="154"/>
                      </a:lnTo>
                      <a:lnTo>
                        <a:pt x="27" y="143"/>
                      </a:lnTo>
                      <a:lnTo>
                        <a:pt x="92" y="99"/>
                      </a:lnTo>
                      <a:lnTo>
                        <a:pt x="123" y="71"/>
                      </a:lnTo>
                      <a:lnTo>
                        <a:pt x="189" y="21"/>
                      </a:lnTo>
                      <a:lnTo>
                        <a:pt x="198" y="16"/>
                      </a:lnTo>
                      <a:lnTo>
                        <a:pt x="249" y="0"/>
                      </a:lnTo>
                      <a:lnTo>
                        <a:pt x="255" y="2"/>
                      </a:lnTo>
                      <a:lnTo>
                        <a:pt x="262" y="0"/>
                      </a:lnTo>
                      <a:lnTo>
                        <a:pt x="262" y="4"/>
                      </a:lnTo>
                      <a:close/>
                    </a:path>
                  </a:pathLst>
                </a:custGeom>
                <a:solidFill>
                  <a:srgbClr val="72849C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lIns="68571" tIns="34286" rIns="68571" bIns="34286" anchor="ctr"/>
                <a:lstStyle/>
                <a:p>
                  <a:pPr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39" name="Central Denmark Region" descr="{&quot;Key&quot;:&quot;central denmark region&quot;,&quot;Name&quot;:&quot;Central Denmark Region&quot;,&quot;Value&quot;:1.0,&quot;Formula&quot;:&quot;1&quot;,&quot;Text&quot;:&quot;1&quot;,&quot;OfficeApplication&quot;:1,&quot;HasValue&quot;:true}"/>
                <p:cNvSpPr>
                  <a:spLocks noEditPoints="1"/>
                </p:cNvSpPr>
                <p:nvPr/>
              </p:nvSpPr>
              <p:spPr bwMode="auto">
                <a:xfrm>
                  <a:off x="3371850" y="2489200"/>
                  <a:ext cx="3186113" cy="1893887"/>
                </a:xfrm>
                <a:custGeom>
                  <a:avLst/>
                  <a:gdLst>
                    <a:gd name="T0" fmla="*/ 1121 w 2007"/>
                    <a:gd name="T1" fmla="*/ 1032 h 1193"/>
                    <a:gd name="T2" fmla="*/ 1317 w 2007"/>
                    <a:gd name="T3" fmla="*/ 918 h 1193"/>
                    <a:gd name="T4" fmla="*/ 39 w 2007"/>
                    <a:gd name="T5" fmla="*/ 921 h 1193"/>
                    <a:gd name="T6" fmla="*/ 23 w 2007"/>
                    <a:gd name="T7" fmla="*/ 905 h 1193"/>
                    <a:gd name="T8" fmla="*/ 1433 w 2007"/>
                    <a:gd name="T9" fmla="*/ 988 h 1193"/>
                    <a:gd name="T10" fmla="*/ 1395 w 2007"/>
                    <a:gd name="T11" fmla="*/ 997 h 1193"/>
                    <a:gd name="T12" fmla="*/ 305 w 2007"/>
                    <a:gd name="T13" fmla="*/ 281 h 1193"/>
                    <a:gd name="T14" fmla="*/ 265 w 2007"/>
                    <a:gd name="T15" fmla="*/ 198 h 1193"/>
                    <a:gd name="T16" fmla="*/ 279 w 2007"/>
                    <a:gd name="T17" fmla="*/ 216 h 1193"/>
                    <a:gd name="T18" fmla="*/ 202 w 2007"/>
                    <a:gd name="T19" fmla="*/ 205 h 1193"/>
                    <a:gd name="T20" fmla="*/ 240 w 2007"/>
                    <a:gd name="T21" fmla="*/ 178 h 1193"/>
                    <a:gd name="T22" fmla="*/ 1934 w 2007"/>
                    <a:gd name="T23" fmla="*/ 125 h 1193"/>
                    <a:gd name="T24" fmla="*/ 554 w 2007"/>
                    <a:gd name="T25" fmla="*/ 210 h 1193"/>
                    <a:gd name="T26" fmla="*/ 583 w 2007"/>
                    <a:gd name="T27" fmla="*/ 254 h 1193"/>
                    <a:gd name="T28" fmla="*/ 655 w 2007"/>
                    <a:gd name="T29" fmla="*/ 230 h 1193"/>
                    <a:gd name="T30" fmla="*/ 680 w 2007"/>
                    <a:gd name="T31" fmla="*/ 333 h 1193"/>
                    <a:gd name="T32" fmla="*/ 677 w 2007"/>
                    <a:gd name="T33" fmla="*/ 246 h 1193"/>
                    <a:gd name="T34" fmla="*/ 805 w 2007"/>
                    <a:gd name="T35" fmla="*/ 172 h 1193"/>
                    <a:gd name="T36" fmla="*/ 908 w 2007"/>
                    <a:gd name="T37" fmla="*/ 269 h 1193"/>
                    <a:gd name="T38" fmla="*/ 1181 w 2007"/>
                    <a:gd name="T39" fmla="*/ 173 h 1193"/>
                    <a:gd name="T40" fmla="*/ 1229 w 2007"/>
                    <a:gd name="T41" fmla="*/ 263 h 1193"/>
                    <a:gd name="T42" fmla="*/ 1100 w 2007"/>
                    <a:gd name="T43" fmla="*/ 393 h 1193"/>
                    <a:gd name="T44" fmla="*/ 1235 w 2007"/>
                    <a:gd name="T45" fmla="*/ 384 h 1193"/>
                    <a:gd name="T46" fmla="*/ 1245 w 2007"/>
                    <a:gd name="T47" fmla="*/ 247 h 1193"/>
                    <a:gd name="T48" fmla="*/ 1555 w 2007"/>
                    <a:gd name="T49" fmla="*/ 337 h 1193"/>
                    <a:gd name="T50" fmla="*/ 1586 w 2007"/>
                    <a:gd name="T51" fmla="*/ 514 h 1193"/>
                    <a:gd name="T52" fmla="*/ 1429 w 2007"/>
                    <a:gd name="T53" fmla="*/ 681 h 1193"/>
                    <a:gd name="T54" fmla="*/ 1371 w 2007"/>
                    <a:gd name="T55" fmla="*/ 697 h 1193"/>
                    <a:gd name="T56" fmla="*/ 1315 w 2007"/>
                    <a:gd name="T57" fmla="*/ 690 h 1193"/>
                    <a:gd name="T58" fmla="*/ 1315 w 2007"/>
                    <a:gd name="T59" fmla="*/ 659 h 1193"/>
                    <a:gd name="T60" fmla="*/ 1353 w 2007"/>
                    <a:gd name="T61" fmla="*/ 590 h 1193"/>
                    <a:gd name="T62" fmla="*/ 1285 w 2007"/>
                    <a:gd name="T63" fmla="*/ 573 h 1193"/>
                    <a:gd name="T64" fmla="*/ 1192 w 2007"/>
                    <a:gd name="T65" fmla="*/ 702 h 1193"/>
                    <a:gd name="T66" fmla="*/ 1217 w 2007"/>
                    <a:gd name="T67" fmla="*/ 799 h 1193"/>
                    <a:gd name="T68" fmla="*/ 1213 w 2007"/>
                    <a:gd name="T69" fmla="*/ 882 h 1193"/>
                    <a:gd name="T70" fmla="*/ 1146 w 2007"/>
                    <a:gd name="T71" fmla="*/ 981 h 1193"/>
                    <a:gd name="T72" fmla="*/ 1091 w 2007"/>
                    <a:gd name="T73" fmla="*/ 987 h 1193"/>
                    <a:gd name="T74" fmla="*/ 989 w 2007"/>
                    <a:gd name="T75" fmla="*/ 987 h 1193"/>
                    <a:gd name="T76" fmla="*/ 1080 w 2007"/>
                    <a:gd name="T77" fmla="*/ 1035 h 1193"/>
                    <a:gd name="T78" fmla="*/ 1071 w 2007"/>
                    <a:gd name="T79" fmla="*/ 1143 h 1193"/>
                    <a:gd name="T80" fmla="*/ 887 w 2007"/>
                    <a:gd name="T81" fmla="*/ 1150 h 1193"/>
                    <a:gd name="T82" fmla="*/ 780 w 2007"/>
                    <a:gd name="T83" fmla="*/ 1029 h 1193"/>
                    <a:gd name="T84" fmla="*/ 697 w 2007"/>
                    <a:gd name="T85" fmla="*/ 930 h 1193"/>
                    <a:gd name="T86" fmla="*/ 513 w 2007"/>
                    <a:gd name="T87" fmla="*/ 1031 h 1193"/>
                    <a:gd name="T88" fmla="*/ 253 w 2007"/>
                    <a:gd name="T89" fmla="*/ 1040 h 1193"/>
                    <a:gd name="T90" fmla="*/ 52 w 2007"/>
                    <a:gd name="T91" fmla="*/ 1030 h 1193"/>
                    <a:gd name="T92" fmla="*/ 64 w 2007"/>
                    <a:gd name="T93" fmla="*/ 965 h 1193"/>
                    <a:gd name="T94" fmla="*/ 103 w 2007"/>
                    <a:gd name="T95" fmla="*/ 1012 h 1193"/>
                    <a:gd name="T96" fmla="*/ 139 w 2007"/>
                    <a:gd name="T97" fmla="*/ 893 h 1193"/>
                    <a:gd name="T98" fmla="*/ 20 w 2007"/>
                    <a:gd name="T99" fmla="*/ 772 h 1193"/>
                    <a:gd name="T100" fmla="*/ 21 w 2007"/>
                    <a:gd name="T101" fmla="*/ 489 h 1193"/>
                    <a:gd name="T102" fmla="*/ 76 w 2007"/>
                    <a:gd name="T103" fmla="*/ 560 h 1193"/>
                    <a:gd name="T104" fmla="*/ 81 w 2007"/>
                    <a:gd name="T105" fmla="*/ 503 h 1193"/>
                    <a:gd name="T106" fmla="*/ 13 w 2007"/>
                    <a:gd name="T107" fmla="*/ 440 h 1193"/>
                    <a:gd name="T108" fmla="*/ 58 w 2007"/>
                    <a:gd name="T109" fmla="*/ 149 h 1193"/>
                    <a:gd name="T110" fmla="*/ 75 w 2007"/>
                    <a:gd name="T111" fmla="*/ 231 h 1193"/>
                    <a:gd name="T112" fmla="*/ 117 w 2007"/>
                    <a:gd name="T113" fmla="*/ 282 h 1193"/>
                    <a:gd name="T114" fmla="*/ 271 w 2007"/>
                    <a:gd name="T115" fmla="*/ 361 h 1193"/>
                    <a:gd name="T116" fmla="*/ 288 w 2007"/>
                    <a:gd name="T117" fmla="*/ 356 h 1193"/>
                    <a:gd name="T118" fmla="*/ 327 w 2007"/>
                    <a:gd name="T119" fmla="*/ 227 h 1193"/>
                    <a:gd name="T120" fmla="*/ 459 w 2007"/>
                    <a:gd name="T121" fmla="*/ 144 h 1193"/>
                    <a:gd name="T122" fmla="*/ 519 w 2007"/>
                    <a:gd name="T123" fmla="*/ 63 h 1193"/>
                    <a:gd name="T124" fmla="*/ 533 w 2007"/>
                    <a:gd name="T125" fmla="*/ 28 h 1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007" h="1193">
                      <a:moveTo>
                        <a:pt x="1255" y="1092"/>
                      </a:moveTo>
                      <a:lnTo>
                        <a:pt x="1252" y="1115"/>
                      </a:lnTo>
                      <a:lnTo>
                        <a:pt x="1250" y="1118"/>
                      </a:lnTo>
                      <a:lnTo>
                        <a:pt x="1244" y="1120"/>
                      </a:lnTo>
                      <a:lnTo>
                        <a:pt x="1228" y="1114"/>
                      </a:lnTo>
                      <a:lnTo>
                        <a:pt x="1209" y="1115"/>
                      </a:lnTo>
                      <a:lnTo>
                        <a:pt x="1203" y="1110"/>
                      </a:lnTo>
                      <a:lnTo>
                        <a:pt x="1202" y="1107"/>
                      </a:lnTo>
                      <a:lnTo>
                        <a:pt x="1210" y="1101"/>
                      </a:lnTo>
                      <a:lnTo>
                        <a:pt x="1224" y="1103"/>
                      </a:lnTo>
                      <a:lnTo>
                        <a:pt x="1240" y="1098"/>
                      </a:lnTo>
                      <a:lnTo>
                        <a:pt x="1238" y="1092"/>
                      </a:lnTo>
                      <a:lnTo>
                        <a:pt x="1243" y="1084"/>
                      </a:lnTo>
                      <a:lnTo>
                        <a:pt x="1242" y="1079"/>
                      </a:lnTo>
                      <a:lnTo>
                        <a:pt x="1246" y="1068"/>
                      </a:lnTo>
                      <a:lnTo>
                        <a:pt x="1251" y="1078"/>
                      </a:lnTo>
                      <a:lnTo>
                        <a:pt x="1255" y="1092"/>
                      </a:lnTo>
                      <a:close/>
                      <a:moveTo>
                        <a:pt x="1121" y="1032"/>
                      </a:moveTo>
                      <a:lnTo>
                        <a:pt x="1124" y="1032"/>
                      </a:lnTo>
                      <a:lnTo>
                        <a:pt x="1128" y="1036"/>
                      </a:lnTo>
                      <a:lnTo>
                        <a:pt x="1123" y="1043"/>
                      </a:lnTo>
                      <a:lnTo>
                        <a:pt x="1117" y="1045"/>
                      </a:lnTo>
                      <a:lnTo>
                        <a:pt x="1112" y="1044"/>
                      </a:lnTo>
                      <a:lnTo>
                        <a:pt x="1106" y="1039"/>
                      </a:lnTo>
                      <a:lnTo>
                        <a:pt x="1102" y="1031"/>
                      </a:lnTo>
                      <a:lnTo>
                        <a:pt x="1111" y="1027"/>
                      </a:lnTo>
                      <a:lnTo>
                        <a:pt x="1121" y="1032"/>
                      </a:lnTo>
                      <a:close/>
                      <a:moveTo>
                        <a:pt x="93" y="971"/>
                      </a:moveTo>
                      <a:lnTo>
                        <a:pt x="97" y="975"/>
                      </a:lnTo>
                      <a:lnTo>
                        <a:pt x="96" y="978"/>
                      </a:lnTo>
                      <a:lnTo>
                        <a:pt x="92" y="975"/>
                      </a:lnTo>
                      <a:lnTo>
                        <a:pt x="86" y="975"/>
                      </a:lnTo>
                      <a:lnTo>
                        <a:pt x="87" y="969"/>
                      </a:lnTo>
                      <a:lnTo>
                        <a:pt x="93" y="971"/>
                      </a:lnTo>
                      <a:close/>
                      <a:moveTo>
                        <a:pt x="1326" y="913"/>
                      </a:moveTo>
                      <a:lnTo>
                        <a:pt x="1317" y="918"/>
                      </a:lnTo>
                      <a:lnTo>
                        <a:pt x="1312" y="917"/>
                      </a:lnTo>
                      <a:lnTo>
                        <a:pt x="1304" y="910"/>
                      </a:lnTo>
                      <a:lnTo>
                        <a:pt x="1297" y="902"/>
                      </a:lnTo>
                      <a:lnTo>
                        <a:pt x="1302" y="901"/>
                      </a:lnTo>
                      <a:lnTo>
                        <a:pt x="1331" y="909"/>
                      </a:lnTo>
                      <a:lnTo>
                        <a:pt x="1326" y="911"/>
                      </a:lnTo>
                      <a:lnTo>
                        <a:pt x="1326" y="913"/>
                      </a:lnTo>
                      <a:close/>
                      <a:moveTo>
                        <a:pt x="19" y="859"/>
                      </a:moveTo>
                      <a:lnTo>
                        <a:pt x="21" y="860"/>
                      </a:lnTo>
                      <a:lnTo>
                        <a:pt x="19" y="863"/>
                      </a:lnTo>
                      <a:lnTo>
                        <a:pt x="21" y="875"/>
                      </a:lnTo>
                      <a:lnTo>
                        <a:pt x="27" y="884"/>
                      </a:lnTo>
                      <a:lnTo>
                        <a:pt x="26" y="887"/>
                      </a:lnTo>
                      <a:lnTo>
                        <a:pt x="31" y="898"/>
                      </a:lnTo>
                      <a:lnTo>
                        <a:pt x="32" y="905"/>
                      </a:lnTo>
                      <a:lnTo>
                        <a:pt x="40" y="912"/>
                      </a:lnTo>
                      <a:lnTo>
                        <a:pt x="40" y="917"/>
                      </a:lnTo>
                      <a:lnTo>
                        <a:pt x="39" y="921"/>
                      </a:lnTo>
                      <a:lnTo>
                        <a:pt x="38" y="934"/>
                      </a:lnTo>
                      <a:lnTo>
                        <a:pt x="42" y="937"/>
                      </a:lnTo>
                      <a:lnTo>
                        <a:pt x="41" y="946"/>
                      </a:lnTo>
                      <a:lnTo>
                        <a:pt x="43" y="950"/>
                      </a:lnTo>
                      <a:lnTo>
                        <a:pt x="42" y="957"/>
                      </a:lnTo>
                      <a:lnTo>
                        <a:pt x="40" y="960"/>
                      </a:lnTo>
                      <a:lnTo>
                        <a:pt x="47" y="979"/>
                      </a:lnTo>
                      <a:lnTo>
                        <a:pt x="45" y="988"/>
                      </a:lnTo>
                      <a:lnTo>
                        <a:pt x="48" y="994"/>
                      </a:lnTo>
                      <a:lnTo>
                        <a:pt x="54" y="998"/>
                      </a:lnTo>
                      <a:lnTo>
                        <a:pt x="42" y="1017"/>
                      </a:lnTo>
                      <a:lnTo>
                        <a:pt x="43" y="1036"/>
                      </a:lnTo>
                      <a:lnTo>
                        <a:pt x="50" y="1045"/>
                      </a:lnTo>
                      <a:lnTo>
                        <a:pt x="50" y="1045"/>
                      </a:lnTo>
                      <a:lnTo>
                        <a:pt x="40" y="1047"/>
                      </a:lnTo>
                      <a:lnTo>
                        <a:pt x="40" y="1047"/>
                      </a:lnTo>
                      <a:lnTo>
                        <a:pt x="31" y="986"/>
                      </a:lnTo>
                      <a:lnTo>
                        <a:pt x="23" y="905"/>
                      </a:lnTo>
                      <a:lnTo>
                        <a:pt x="18" y="883"/>
                      </a:lnTo>
                      <a:lnTo>
                        <a:pt x="9" y="862"/>
                      </a:lnTo>
                      <a:lnTo>
                        <a:pt x="19" y="859"/>
                      </a:lnTo>
                      <a:close/>
                      <a:moveTo>
                        <a:pt x="1398" y="916"/>
                      </a:moveTo>
                      <a:lnTo>
                        <a:pt x="1411" y="933"/>
                      </a:lnTo>
                      <a:lnTo>
                        <a:pt x="1419" y="937"/>
                      </a:lnTo>
                      <a:lnTo>
                        <a:pt x="1437" y="945"/>
                      </a:lnTo>
                      <a:lnTo>
                        <a:pt x="1438" y="947"/>
                      </a:lnTo>
                      <a:lnTo>
                        <a:pt x="1433" y="951"/>
                      </a:lnTo>
                      <a:lnTo>
                        <a:pt x="1425" y="948"/>
                      </a:lnTo>
                      <a:lnTo>
                        <a:pt x="1418" y="949"/>
                      </a:lnTo>
                      <a:lnTo>
                        <a:pt x="1414" y="954"/>
                      </a:lnTo>
                      <a:lnTo>
                        <a:pt x="1418" y="970"/>
                      </a:lnTo>
                      <a:lnTo>
                        <a:pt x="1425" y="972"/>
                      </a:lnTo>
                      <a:lnTo>
                        <a:pt x="1423" y="976"/>
                      </a:lnTo>
                      <a:lnTo>
                        <a:pt x="1427" y="984"/>
                      </a:lnTo>
                      <a:lnTo>
                        <a:pt x="1431" y="986"/>
                      </a:lnTo>
                      <a:lnTo>
                        <a:pt x="1433" y="988"/>
                      </a:lnTo>
                      <a:lnTo>
                        <a:pt x="1451" y="978"/>
                      </a:lnTo>
                      <a:lnTo>
                        <a:pt x="1452" y="991"/>
                      </a:lnTo>
                      <a:lnTo>
                        <a:pt x="1441" y="1002"/>
                      </a:lnTo>
                      <a:lnTo>
                        <a:pt x="1431" y="1024"/>
                      </a:lnTo>
                      <a:lnTo>
                        <a:pt x="1430" y="1045"/>
                      </a:lnTo>
                      <a:lnTo>
                        <a:pt x="1433" y="1052"/>
                      </a:lnTo>
                      <a:lnTo>
                        <a:pt x="1432" y="1065"/>
                      </a:lnTo>
                      <a:lnTo>
                        <a:pt x="1428" y="1078"/>
                      </a:lnTo>
                      <a:lnTo>
                        <a:pt x="1423" y="1085"/>
                      </a:lnTo>
                      <a:lnTo>
                        <a:pt x="1420" y="1097"/>
                      </a:lnTo>
                      <a:lnTo>
                        <a:pt x="1397" y="1091"/>
                      </a:lnTo>
                      <a:lnTo>
                        <a:pt x="1381" y="1092"/>
                      </a:lnTo>
                      <a:lnTo>
                        <a:pt x="1373" y="1084"/>
                      </a:lnTo>
                      <a:lnTo>
                        <a:pt x="1368" y="1067"/>
                      </a:lnTo>
                      <a:lnTo>
                        <a:pt x="1366" y="1038"/>
                      </a:lnTo>
                      <a:lnTo>
                        <a:pt x="1369" y="1010"/>
                      </a:lnTo>
                      <a:lnTo>
                        <a:pt x="1379" y="998"/>
                      </a:lnTo>
                      <a:lnTo>
                        <a:pt x="1395" y="997"/>
                      </a:lnTo>
                      <a:lnTo>
                        <a:pt x="1398" y="993"/>
                      </a:lnTo>
                      <a:lnTo>
                        <a:pt x="1405" y="980"/>
                      </a:lnTo>
                      <a:lnTo>
                        <a:pt x="1409" y="955"/>
                      </a:lnTo>
                      <a:lnTo>
                        <a:pt x="1405" y="943"/>
                      </a:lnTo>
                      <a:lnTo>
                        <a:pt x="1396" y="932"/>
                      </a:lnTo>
                      <a:lnTo>
                        <a:pt x="1384" y="923"/>
                      </a:lnTo>
                      <a:lnTo>
                        <a:pt x="1372" y="925"/>
                      </a:lnTo>
                      <a:lnTo>
                        <a:pt x="1368" y="919"/>
                      </a:lnTo>
                      <a:lnTo>
                        <a:pt x="1364" y="897"/>
                      </a:lnTo>
                      <a:lnTo>
                        <a:pt x="1365" y="883"/>
                      </a:lnTo>
                      <a:lnTo>
                        <a:pt x="1386" y="858"/>
                      </a:lnTo>
                      <a:lnTo>
                        <a:pt x="1392" y="901"/>
                      </a:lnTo>
                      <a:lnTo>
                        <a:pt x="1398" y="916"/>
                      </a:lnTo>
                      <a:close/>
                      <a:moveTo>
                        <a:pt x="313" y="272"/>
                      </a:moveTo>
                      <a:lnTo>
                        <a:pt x="310" y="276"/>
                      </a:lnTo>
                      <a:lnTo>
                        <a:pt x="308" y="274"/>
                      </a:lnTo>
                      <a:lnTo>
                        <a:pt x="303" y="276"/>
                      </a:lnTo>
                      <a:lnTo>
                        <a:pt x="305" y="281"/>
                      </a:lnTo>
                      <a:lnTo>
                        <a:pt x="311" y="284"/>
                      </a:lnTo>
                      <a:lnTo>
                        <a:pt x="300" y="302"/>
                      </a:lnTo>
                      <a:lnTo>
                        <a:pt x="298" y="313"/>
                      </a:lnTo>
                      <a:lnTo>
                        <a:pt x="301" y="319"/>
                      </a:lnTo>
                      <a:lnTo>
                        <a:pt x="301" y="330"/>
                      </a:lnTo>
                      <a:lnTo>
                        <a:pt x="292" y="340"/>
                      </a:lnTo>
                      <a:lnTo>
                        <a:pt x="290" y="339"/>
                      </a:lnTo>
                      <a:lnTo>
                        <a:pt x="298" y="330"/>
                      </a:lnTo>
                      <a:lnTo>
                        <a:pt x="293" y="321"/>
                      </a:lnTo>
                      <a:lnTo>
                        <a:pt x="293" y="313"/>
                      </a:lnTo>
                      <a:lnTo>
                        <a:pt x="288" y="301"/>
                      </a:lnTo>
                      <a:lnTo>
                        <a:pt x="303" y="273"/>
                      </a:lnTo>
                      <a:lnTo>
                        <a:pt x="313" y="272"/>
                      </a:lnTo>
                      <a:close/>
                      <a:moveTo>
                        <a:pt x="272" y="163"/>
                      </a:moveTo>
                      <a:lnTo>
                        <a:pt x="276" y="171"/>
                      </a:lnTo>
                      <a:lnTo>
                        <a:pt x="271" y="178"/>
                      </a:lnTo>
                      <a:lnTo>
                        <a:pt x="268" y="192"/>
                      </a:lnTo>
                      <a:lnTo>
                        <a:pt x="265" y="198"/>
                      </a:lnTo>
                      <a:lnTo>
                        <a:pt x="273" y="211"/>
                      </a:lnTo>
                      <a:lnTo>
                        <a:pt x="279" y="213"/>
                      </a:lnTo>
                      <a:lnTo>
                        <a:pt x="282" y="209"/>
                      </a:lnTo>
                      <a:lnTo>
                        <a:pt x="281" y="202"/>
                      </a:lnTo>
                      <a:lnTo>
                        <a:pt x="273" y="199"/>
                      </a:lnTo>
                      <a:lnTo>
                        <a:pt x="275" y="198"/>
                      </a:lnTo>
                      <a:lnTo>
                        <a:pt x="277" y="190"/>
                      </a:lnTo>
                      <a:lnTo>
                        <a:pt x="283" y="191"/>
                      </a:lnTo>
                      <a:lnTo>
                        <a:pt x="288" y="189"/>
                      </a:lnTo>
                      <a:lnTo>
                        <a:pt x="298" y="194"/>
                      </a:lnTo>
                      <a:lnTo>
                        <a:pt x="305" y="191"/>
                      </a:lnTo>
                      <a:lnTo>
                        <a:pt x="302" y="199"/>
                      </a:lnTo>
                      <a:lnTo>
                        <a:pt x="297" y="206"/>
                      </a:lnTo>
                      <a:lnTo>
                        <a:pt x="302" y="212"/>
                      </a:lnTo>
                      <a:lnTo>
                        <a:pt x="299" y="224"/>
                      </a:lnTo>
                      <a:lnTo>
                        <a:pt x="303" y="232"/>
                      </a:lnTo>
                      <a:lnTo>
                        <a:pt x="287" y="217"/>
                      </a:lnTo>
                      <a:lnTo>
                        <a:pt x="279" y="216"/>
                      </a:lnTo>
                      <a:lnTo>
                        <a:pt x="280" y="228"/>
                      </a:lnTo>
                      <a:lnTo>
                        <a:pt x="277" y="249"/>
                      </a:lnTo>
                      <a:lnTo>
                        <a:pt x="275" y="253"/>
                      </a:lnTo>
                      <a:lnTo>
                        <a:pt x="254" y="254"/>
                      </a:lnTo>
                      <a:lnTo>
                        <a:pt x="242" y="261"/>
                      </a:lnTo>
                      <a:lnTo>
                        <a:pt x="242" y="267"/>
                      </a:lnTo>
                      <a:lnTo>
                        <a:pt x="254" y="271"/>
                      </a:lnTo>
                      <a:lnTo>
                        <a:pt x="258" y="275"/>
                      </a:lnTo>
                      <a:lnTo>
                        <a:pt x="256" y="276"/>
                      </a:lnTo>
                      <a:lnTo>
                        <a:pt x="241" y="273"/>
                      </a:lnTo>
                      <a:lnTo>
                        <a:pt x="237" y="267"/>
                      </a:lnTo>
                      <a:lnTo>
                        <a:pt x="233" y="264"/>
                      </a:lnTo>
                      <a:lnTo>
                        <a:pt x="231" y="254"/>
                      </a:lnTo>
                      <a:lnTo>
                        <a:pt x="226" y="249"/>
                      </a:lnTo>
                      <a:lnTo>
                        <a:pt x="221" y="225"/>
                      </a:lnTo>
                      <a:lnTo>
                        <a:pt x="216" y="219"/>
                      </a:lnTo>
                      <a:lnTo>
                        <a:pt x="208" y="214"/>
                      </a:lnTo>
                      <a:lnTo>
                        <a:pt x="202" y="205"/>
                      </a:lnTo>
                      <a:lnTo>
                        <a:pt x="193" y="199"/>
                      </a:lnTo>
                      <a:lnTo>
                        <a:pt x="183" y="188"/>
                      </a:lnTo>
                      <a:lnTo>
                        <a:pt x="171" y="182"/>
                      </a:lnTo>
                      <a:lnTo>
                        <a:pt x="171" y="182"/>
                      </a:lnTo>
                      <a:lnTo>
                        <a:pt x="172" y="176"/>
                      </a:lnTo>
                      <a:lnTo>
                        <a:pt x="172" y="176"/>
                      </a:lnTo>
                      <a:lnTo>
                        <a:pt x="177" y="178"/>
                      </a:lnTo>
                      <a:lnTo>
                        <a:pt x="178" y="181"/>
                      </a:lnTo>
                      <a:lnTo>
                        <a:pt x="183" y="182"/>
                      </a:lnTo>
                      <a:lnTo>
                        <a:pt x="194" y="171"/>
                      </a:lnTo>
                      <a:lnTo>
                        <a:pt x="208" y="166"/>
                      </a:lnTo>
                      <a:lnTo>
                        <a:pt x="217" y="169"/>
                      </a:lnTo>
                      <a:lnTo>
                        <a:pt x="212" y="169"/>
                      </a:lnTo>
                      <a:lnTo>
                        <a:pt x="212" y="174"/>
                      </a:lnTo>
                      <a:lnTo>
                        <a:pt x="216" y="180"/>
                      </a:lnTo>
                      <a:lnTo>
                        <a:pt x="224" y="186"/>
                      </a:lnTo>
                      <a:lnTo>
                        <a:pt x="229" y="185"/>
                      </a:lnTo>
                      <a:lnTo>
                        <a:pt x="240" y="178"/>
                      </a:lnTo>
                      <a:lnTo>
                        <a:pt x="248" y="168"/>
                      </a:lnTo>
                      <a:lnTo>
                        <a:pt x="254" y="168"/>
                      </a:lnTo>
                      <a:lnTo>
                        <a:pt x="258" y="163"/>
                      </a:lnTo>
                      <a:lnTo>
                        <a:pt x="267" y="166"/>
                      </a:lnTo>
                      <a:lnTo>
                        <a:pt x="270" y="160"/>
                      </a:lnTo>
                      <a:lnTo>
                        <a:pt x="272" y="160"/>
                      </a:lnTo>
                      <a:lnTo>
                        <a:pt x="272" y="163"/>
                      </a:lnTo>
                      <a:close/>
                      <a:moveTo>
                        <a:pt x="2000" y="112"/>
                      </a:moveTo>
                      <a:lnTo>
                        <a:pt x="2007" y="114"/>
                      </a:lnTo>
                      <a:lnTo>
                        <a:pt x="1980" y="133"/>
                      </a:lnTo>
                      <a:lnTo>
                        <a:pt x="1964" y="157"/>
                      </a:lnTo>
                      <a:lnTo>
                        <a:pt x="1957" y="162"/>
                      </a:lnTo>
                      <a:lnTo>
                        <a:pt x="1945" y="164"/>
                      </a:lnTo>
                      <a:lnTo>
                        <a:pt x="1937" y="162"/>
                      </a:lnTo>
                      <a:lnTo>
                        <a:pt x="1928" y="144"/>
                      </a:lnTo>
                      <a:lnTo>
                        <a:pt x="1922" y="136"/>
                      </a:lnTo>
                      <a:lnTo>
                        <a:pt x="1919" y="135"/>
                      </a:lnTo>
                      <a:lnTo>
                        <a:pt x="1934" y="125"/>
                      </a:lnTo>
                      <a:lnTo>
                        <a:pt x="1952" y="128"/>
                      </a:lnTo>
                      <a:lnTo>
                        <a:pt x="2000" y="112"/>
                      </a:lnTo>
                      <a:close/>
                      <a:moveTo>
                        <a:pt x="545" y="46"/>
                      </a:moveTo>
                      <a:lnTo>
                        <a:pt x="570" y="64"/>
                      </a:lnTo>
                      <a:lnTo>
                        <a:pt x="567" y="71"/>
                      </a:lnTo>
                      <a:lnTo>
                        <a:pt x="569" y="80"/>
                      </a:lnTo>
                      <a:lnTo>
                        <a:pt x="581" y="110"/>
                      </a:lnTo>
                      <a:lnTo>
                        <a:pt x="604" y="137"/>
                      </a:lnTo>
                      <a:lnTo>
                        <a:pt x="606" y="143"/>
                      </a:lnTo>
                      <a:lnTo>
                        <a:pt x="589" y="152"/>
                      </a:lnTo>
                      <a:lnTo>
                        <a:pt x="582" y="161"/>
                      </a:lnTo>
                      <a:lnTo>
                        <a:pt x="575" y="174"/>
                      </a:lnTo>
                      <a:lnTo>
                        <a:pt x="573" y="185"/>
                      </a:lnTo>
                      <a:lnTo>
                        <a:pt x="562" y="184"/>
                      </a:lnTo>
                      <a:lnTo>
                        <a:pt x="563" y="205"/>
                      </a:lnTo>
                      <a:lnTo>
                        <a:pt x="566" y="209"/>
                      </a:lnTo>
                      <a:lnTo>
                        <a:pt x="558" y="208"/>
                      </a:lnTo>
                      <a:lnTo>
                        <a:pt x="554" y="210"/>
                      </a:lnTo>
                      <a:lnTo>
                        <a:pt x="538" y="225"/>
                      </a:lnTo>
                      <a:lnTo>
                        <a:pt x="532" y="243"/>
                      </a:lnTo>
                      <a:lnTo>
                        <a:pt x="531" y="261"/>
                      </a:lnTo>
                      <a:lnTo>
                        <a:pt x="532" y="268"/>
                      </a:lnTo>
                      <a:lnTo>
                        <a:pt x="535" y="278"/>
                      </a:lnTo>
                      <a:lnTo>
                        <a:pt x="538" y="284"/>
                      </a:lnTo>
                      <a:lnTo>
                        <a:pt x="537" y="287"/>
                      </a:lnTo>
                      <a:lnTo>
                        <a:pt x="539" y="291"/>
                      </a:lnTo>
                      <a:lnTo>
                        <a:pt x="535" y="293"/>
                      </a:lnTo>
                      <a:lnTo>
                        <a:pt x="540" y="298"/>
                      </a:lnTo>
                      <a:lnTo>
                        <a:pt x="550" y="298"/>
                      </a:lnTo>
                      <a:lnTo>
                        <a:pt x="559" y="285"/>
                      </a:lnTo>
                      <a:lnTo>
                        <a:pt x="562" y="275"/>
                      </a:lnTo>
                      <a:lnTo>
                        <a:pt x="558" y="264"/>
                      </a:lnTo>
                      <a:lnTo>
                        <a:pt x="561" y="251"/>
                      </a:lnTo>
                      <a:lnTo>
                        <a:pt x="572" y="246"/>
                      </a:lnTo>
                      <a:lnTo>
                        <a:pt x="577" y="253"/>
                      </a:lnTo>
                      <a:lnTo>
                        <a:pt x="583" y="254"/>
                      </a:lnTo>
                      <a:lnTo>
                        <a:pt x="592" y="244"/>
                      </a:lnTo>
                      <a:lnTo>
                        <a:pt x="592" y="234"/>
                      </a:lnTo>
                      <a:lnTo>
                        <a:pt x="578" y="238"/>
                      </a:lnTo>
                      <a:lnTo>
                        <a:pt x="569" y="233"/>
                      </a:lnTo>
                      <a:lnTo>
                        <a:pt x="584" y="219"/>
                      </a:lnTo>
                      <a:lnTo>
                        <a:pt x="592" y="198"/>
                      </a:lnTo>
                      <a:lnTo>
                        <a:pt x="595" y="201"/>
                      </a:lnTo>
                      <a:lnTo>
                        <a:pt x="595" y="207"/>
                      </a:lnTo>
                      <a:lnTo>
                        <a:pt x="592" y="210"/>
                      </a:lnTo>
                      <a:lnTo>
                        <a:pt x="591" y="217"/>
                      </a:lnTo>
                      <a:lnTo>
                        <a:pt x="597" y="227"/>
                      </a:lnTo>
                      <a:lnTo>
                        <a:pt x="603" y="231"/>
                      </a:lnTo>
                      <a:lnTo>
                        <a:pt x="612" y="232"/>
                      </a:lnTo>
                      <a:lnTo>
                        <a:pt x="625" y="223"/>
                      </a:lnTo>
                      <a:lnTo>
                        <a:pt x="633" y="226"/>
                      </a:lnTo>
                      <a:lnTo>
                        <a:pt x="656" y="225"/>
                      </a:lnTo>
                      <a:lnTo>
                        <a:pt x="653" y="226"/>
                      </a:lnTo>
                      <a:lnTo>
                        <a:pt x="655" y="230"/>
                      </a:lnTo>
                      <a:lnTo>
                        <a:pt x="660" y="227"/>
                      </a:lnTo>
                      <a:lnTo>
                        <a:pt x="667" y="231"/>
                      </a:lnTo>
                      <a:lnTo>
                        <a:pt x="673" y="245"/>
                      </a:lnTo>
                      <a:lnTo>
                        <a:pt x="671" y="244"/>
                      </a:lnTo>
                      <a:lnTo>
                        <a:pt x="669" y="249"/>
                      </a:lnTo>
                      <a:lnTo>
                        <a:pt x="670" y="251"/>
                      </a:lnTo>
                      <a:lnTo>
                        <a:pt x="655" y="262"/>
                      </a:lnTo>
                      <a:lnTo>
                        <a:pt x="652" y="261"/>
                      </a:lnTo>
                      <a:lnTo>
                        <a:pt x="650" y="271"/>
                      </a:lnTo>
                      <a:lnTo>
                        <a:pt x="645" y="280"/>
                      </a:lnTo>
                      <a:lnTo>
                        <a:pt x="650" y="282"/>
                      </a:lnTo>
                      <a:lnTo>
                        <a:pt x="654" y="299"/>
                      </a:lnTo>
                      <a:lnTo>
                        <a:pt x="662" y="311"/>
                      </a:lnTo>
                      <a:lnTo>
                        <a:pt x="674" y="321"/>
                      </a:lnTo>
                      <a:lnTo>
                        <a:pt x="681" y="322"/>
                      </a:lnTo>
                      <a:lnTo>
                        <a:pt x="676" y="327"/>
                      </a:lnTo>
                      <a:lnTo>
                        <a:pt x="676" y="335"/>
                      </a:lnTo>
                      <a:lnTo>
                        <a:pt x="680" y="333"/>
                      </a:lnTo>
                      <a:lnTo>
                        <a:pt x="680" y="330"/>
                      </a:lnTo>
                      <a:lnTo>
                        <a:pt x="696" y="314"/>
                      </a:lnTo>
                      <a:lnTo>
                        <a:pt x="706" y="317"/>
                      </a:lnTo>
                      <a:lnTo>
                        <a:pt x="712" y="321"/>
                      </a:lnTo>
                      <a:lnTo>
                        <a:pt x="716" y="320"/>
                      </a:lnTo>
                      <a:lnTo>
                        <a:pt x="713" y="304"/>
                      </a:lnTo>
                      <a:lnTo>
                        <a:pt x="715" y="293"/>
                      </a:lnTo>
                      <a:lnTo>
                        <a:pt x="718" y="287"/>
                      </a:lnTo>
                      <a:lnTo>
                        <a:pt x="715" y="286"/>
                      </a:lnTo>
                      <a:lnTo>
                        <a:pt x="708" y="288"/>
                      </a:lnTo>
                      <a:lnTo>
                        <a:pt x="697" y="297"/>
                      </a:lnTo>
                      <a:lnTo>
                        <a:pt x="681" y="303"/>
                      </a:lnTo>
                      <a:lnTo>
                        <a:pt x="674" y="302"/>
                      </a:lnTo>
                      <a:lnTo>
                        <a:pt x="669" y="290"/>
                      </a:lnTo>
                      <a:lnTo>
                        <a:pt x="674" y="258"/>
                      </a:lnTo>
                      <a:lnTo>
                        <a:pt x="675" y="252"/>
                      </a:lnTo>
                      <a:lnTo>
                        <a:pt x="671" y="248"/>
                      </a:lnTo>
                      <a:lnTo>
                        <a:pt x="677" y="246"/>
                      </a:lnTo>
                      <a:lnTo>
                        <a:pt x="682" y="238"/>
                      </a:lnTo>
                      <a:lnTo>
                        <a:pt x="684" y="228"/>
                      </a:lnTo>
                      <a:lnTo>
                        <a:pt x="682" y="219"/>
                      </a:lnTo>
                      <a:lnTo>
                        <a:pt x="687" y="213"/>
                      </a:lnTo>
                      <a:lnTo>
                        <a:pt x="690" y="201"/>
                      </a:lnTo>
                      <a:lnTo>
                        <a:pt x="687" y="180"/>
                      </a:lnTo>
                      <a:lnTo>
                        <a:pt x="687" y="180"/>
                      </a:lnTo>
                      <a:lnTo>
                        <a:pt x="706" y="181"/>
                      </a:lnTo>
                      <a:lnTo>
                        <a:pt x="713" y="190"/>
                      </a:lnTo>
                      <a:lnTo>
                        <a:pt x="730" y="187"/>
                      </a:lnTo>
                      <a:lnTo>
                        <a:pt x="729" y="199"/>
                      </a:lnTo>
                      <a:lnTo>
                        <a:pt x="749" y="213"/>
                      </a:lnTo>
                      <a:lnTo>
                        <a:pt x="763" y="216"/>
                      </a:lnTo>
                      <a:lnTo>
                        <a:pt x="776" y="178"/>
                      </a:lnTo>
                      <a:lnTo>
                        <a:pt x="784" y="176"/>
                      </a:lnTo>
                      <a:lnTo>
                        <a:pt x="786" y="169"/>
                      </a:lnTo>
                      <a:lnTo>
                        <a:pt x="803" y="171"/>
                      </a:lnTo>
                      <a:lnTo>
                        <a:pt x="805" y="172"/>
                      </a:lnTo>
                      <a:lnTo>
                        <a:pt x="801" y="181"/>
                      </a:lnTo>
                      <a:lnTo>
                        <a:pt x="804" y="183"/>
                      </a:lnTo>
                      <a:lnTo>
                        <a:pt x="807" y="182"/>
                      </a:lnTo>
                      <a:lnTo>
                        <a:pt x="808" y="186"/>
                      </a:lnTo>
                      <a:lnTo>
                        <a:pt x="810" y="186"/>
                      </a:lnTo>
                      <a:lnTo>
                        <a:pt x="812" y="189"/>
                      </a:lnTo>
                      <a:lnTo>
                        <a:pt x="804" y="196"/>
                      </a:lnTo>
                      <a:lnTo>
                        <a:pt x="806" y="202"/>
                      </a:lnTo>
                      <a:lnTo>
                        <a:pt x="827" y="204"/>
                      </a:lnTo>
                      <a:lnTo>
                        <a:pt x="824" y="218"/>
                      </a:lnTo>
                      <a:lnTo>
                        <a:pt x="843" y="224"/>
                      </a:lnTo>
                      <a:lnTo>
                        <a:pt x="859" y="221"/>
                      </a:lnTo>
                      <a:lnTo>
                        <a:pt x="885" y="225"/>
                      </a:lnTo>
                      <a:lnTo>
                        <a:pt x="888" y="240"/>
                      </a:lnTo>
                      <a:lnTo>
                        <a:pt x="870" y="246"/>
                      </a:lnTo>
                      <a:lnTo>
                        <a:pt x="869" y="274"/>
                      </a:lnTo>
                      <a:lnTo>
                        <a:pt x="889" y="264"/>
                      </a:lnTo>
                      <a:lnTo>
                        <a:pt x="908" y="269"/>
                      </a:lnTo>
                      <a:lnTo>
                        <a:pt x="929" y="300"/>
                      </a:lnTo>
                      <a:lnTo>
                        <a:pt x="955" y="294"/>
                      </a:lnTo>
                      <a:lnTo>
                        <a:pt x="976" y="305"/>
                      </a:lnTo>
                      <a:lnTo>
                        <a:pt x="1002" y="299"/>
                      </a:lnTo>
                      <a:lnTo>
                        <a:pt x="1004" y="284"/>
                      </a:lnTo>
                      <a:lnTo>
                        <a:pt x="1008" y="280"/>
                      </a:lnTo>
                      <a:lnTo>
                        <a:pt x="1016" y="281"/>
                      </a:lnTo>
                      <a:lnTo>
                        <a:pt x="1041" y="273"/>
                      </a:lnTo>
                      <a:lnTo>
                        <a:pt x="1047" y="257"/>
                      </a:lnTo>
                      <a:lnTo>
                        <a:pt x="1059" y="263"/>
                      </a:lnTo>
                      <a:lnTo>
                        <a:pt x="1094" y="252"/>
                      </a:lnTo>
                      <a:lnTo>
                        <a:pt x="1120" y="234"/>
                      </a:lnTo>
                      <a:lnTo>
                        <a:pt x="1135" y="229"/>
                      </a:lnTo>
                      <a:lnTo>
                        <a:pt x="1140" y="216"/>
                      </a:lnTo>
                      <a:lnTo>
                        <a:pt x="1140" y="207"/>
                      </a:lnTo>
                      <a:lnTo>
                        <a:pt x="1159" y="201"/>
                      </a:lnTo>
                      <a:lnTo>
                        <a:pt x="1158" y="188"/>
                      </a:lnTo>
                      <a:lnTo>
                        <a:pt x="1181" y="173"/>
                      </a:lnTo>
                      <a:lnTo>
                        <a:pt x="1180" y="167"/>
                      </a:lnTo>
                      <a:lnTo>
                        <a:pt x="1180" y="167"/>
                      </a:lnTo>
                      <a:lnTo>
                        <a:pt x="1186" y="170"/>
                      </a:lnTo>
                      <a:lnTo>
                        <a:pt x="1212" y="153"/>
                      </a:lnTo>
                      <a:lnTo>
                        <a:pt x="1220" y="153"/>
                      </a:lnTo>
                      <a:lnTo>
                        <a:pt x="1231" y="158"/>
                      </a:lnTo>
                      <a:lnTo>
                        <a:pt x="1240" y="155"/>
                      </a:lnTo>
                      <a:lnTo>
                        <a:pt x="1245" y="150"/>
                      </a:lnTo>
                      <a:lnTo>
                        <a:pt x="1261" y="150"/>
                      </a:lnTo>
                      <a:lnTo>
                        <a:pt x="1269" y="159"/>
                      </a:lnTo>
                      <a:lnTo>
                        <a:pt x="1274" y="191"/>
                      </a:lnTo>
                      <a:lnTo>
                        <a:pt x="1268" y="192"/>
                      </a:lnTo>
                      <a:lnTo>
                        <a:pt x="1267" y="195"/>
                      </a:lnTo>
                      <a:lnTo>
                        <a:pt x="1273" y="207"/>
                      </a:lnTo>
                      <a:lnTo>
                        <a:pt x="1272" y="214"/>
                      </a:lnTo>
                      <a:lnTo>
                        <a:pt x="1263" y="230"/>
                      </a:lnTo>
                      <a:lnTo>
                        <a:pt x="1238" y="245"/>
                      </a:lnTo>
                      <a:lnTo>
                        <a:pt x="1229" y="263"/>
                      </a:lnTo>
                      <a:lnTo>
                        <a:pt x="1219" y="266"/>
                      </a:lnTo>
                      <a:lnTo>
                        <a:pt x="1209" y="276"/>
                      </a:lnTo>
                      <a:lnTo>
                        <a:pt x="1207" y="285"/>
                      </a:lnTo>
                      <a:lnTo>
                        <a:pt x="1203" y="296"/>
                      </a:lnTo>
                      <a:lnTo>
                        <a:pt x="1199" y="300"/>
                      </a:lnTo>
                      <a:lnTo>
                        <a:pt x="1195" y="300"/>
                      </a:lnTo>
                      <a:lnTo>
                        <a:pt x="1191" y="312"/>
                      </a:lnTo>
                      <a:lnTo>
                        <a:pt x="1198" y="353"/>
                      </a:lnTo>
                      <a:lnTo>
                        <a:pt x="1190" y="380"/>
                      </a:lnTo>
                      <a:lnTo>
                        <a:pt x="1187" y="382"/>
                      </a:lnTo>
                      <a:lnTo>
                        <a:pt x="1174" y="384"/>
                      </a:lnTo>
                      <a:lnTo>
                        <a:pt x="1142" y="397"/>
                      </a:lnTo>
                      <a:lnTo>
                        <a:pt x="1137" y="395"/>
                      </a:lnTo>
                      <a:lnTo>
                        <a:pt x="1136" y="390"/>
                      </a:lnTo>
                      <a:lnTo>
                        <a:pt x="1120" y="388"/>
                      </a:lnTo>
                      <a:lnTo>
                        <a:pt x="1112" y="390"/>
                      </a:lnTo>
                      <a:lnTo>
                        <a:pt x="1112" y="392"/>
                      </a:lnTo>
                      <a:lnTo>
                        <a:pt x="1100" y="393"/>
                      </a:lnTo>
                      <a:lnTo>
                        <a:pt x="1094" y="398"/>
                      </a:lnTo>
                      <a:lnTo>
                        <a:pt x="1090" y="400"/>
                      </a:lnTo>
                      <a:lnTo>
                        <a:pt x="1067" y="398"/>
                      </a:lnTo>
                      <a:lnTo>
                        <a:pt x="1054" y="411"/>
                      </a:lnTo>
                      <a:lnTo>
                        <a:pt x="1059" y="410"/>
                      </a:lnTo>
                      <a:lnTo>
                        <a:pt x="1064" y="403"/>
                      </a:lnTo>
                      <a:lnTo>
                        <a:pt x="1068" y="399"/>
                      </a:lnTo>
                      <a:lnTo>
                        <a:pt x="1090" y="401"/>
                      </a:lnTo>
                      <a:lnTo>
                        <a:pt x="1107" y="394"/>
                      </a:lnTo>
                      <a:lnTo>
                        <a:pt x="1121" y="391"/>
                      </a:lnTo>
                      <a:lnTo>
                        <a:pt x="1133" y="395"/>
                      </a:lnTo>
                      <a:lnTo>
                        <a:pt x="1144" y="400"/>
                      </a:lnTo>
                      <a:lnTo>
                        <a:pt x="1175" y="385"/>
                      </a:lnTo>
                      <a:lnTo>
                        <a:pt x="1182" y="385"/>
                      </a:lnTo>
                      <a:lnTo>
                        <a:pt x="1194" y="381"/>
                      </a:lnTo>
                      <a:lnTo>
                        <a:pt x="1211" y="388"/>
                      </a:lnTo>
                      <a:lnTo>
                        <a:pt x="1236" y="386"/>
                      </a:lnTo>
                      <a:lnTo>
                        <a:pt x="1235" y="384"/>
                      </a:lnTo>
                      <a:lnTo>
                        <a:pt x="1220" y="383"/>
                      </a:lnTo>
                      <a:lnTo>
                        <a:pt x="1211" y="384"/>
                      </a:lnTo>
                      <a:lnTo>
                        <a:pt x="1205" y="381"/>
                      </a:lnTo>
                      <a:lnTo>
                        <a:pt x="1201" y="376"/>
                      </a:lnTo>
                      <a:lnTo>
                        <a:pt x="1201" y="370"/>
                      </a:lnTo>
                      <a:lnTo>
                        <a:pt x="1202" y="354"/>
                      </a:lnTo>
                      <a:lnTo>
                        <a:pt x="1201" y="351"/>
                      </a:lnTo>
                      <a:lnTo>
                        <a:pt x="1202" y="338"/>
                      </a:lnTo>
                      <a:lnTo>
                        <a:pt x="1200" y="334"/>
                      </a:lnTo>
                      <a:lnTo>
                        <a:pt x="1203" y="313"/>
                      </a:lnTo>
                      <a:lnTo>
                        <a:pt x="1206" y="307"/>
                      </a:lnTo>
                      <a:lnTo>
                        <a:pt x="1212" y="303"/>
                      </a:lnTo>
                      <a:lnTo>
                        <a:pt x="1213" y="296"/>
                      </a:lnTo>
                      <a:lnTo>
                        <a:pt x="1224" y="277"/>
                      </a:lnTo>
                      <a:lnTo>
                        <a:pt x="1232" y="273"/>
                      </a:lnTo>
                      <a:lnTo>
                        <a:pt x="1241" y="262"/>
                      </a:lnTo>
                      <a:lnTo>
                        <a:pt x="1241" y="246"/>
                      </a:lnTo>
                      <a:lnTo>
                        <a:pt x="1245" y="247"/>
                      </a:lnTo>
                      <a:lnTo>
                        <a:pt x="1250" y="253"/>
                      </a:lnTo>
                      <a:lnTo>
                        <a:pt x="1254" y="253"/>
                      </a:lnTo>
                      <a:lnTo>
                        <a:pt x="1263" y="258"/>
                      </a:lnTo>
                      <a:lnTo>
                        <a:pt x="1265" y="276"/>
                      </a:lnTo>
                      <a:lnTo>
                        <a:pt x="1269" y="285"/>
                      </a:lnTo>
                      <a:lnTo>
                        <a:pt x="1283" y="306"/>
                      </a:lnTo>
                      <a:lnTo>
                        <a:pt x="1299" y="322"/>
                      </a:lnTo>
                      <a:lnTo>
                        <a:pt x="1311" y="330"/>
                      </a:lnTo>
                      <a:lnTo>
                        <a:pt x="1356" y="342"/>
                      </a:lnTo>
                      <a:lnTo>
                        <a:pt x="1385" y="340"/>
                      </a:lnTo>
                      <a:lnTo>
                        <a:pt x="1448" y="325"/>
                      </a:lnTo>
                      <a:lnTo>
                        <a:pt x="1473" y="324"/>
                      </a:lnTo>
                      <a:lnTo>
                        <a:pt x="1488" y="322"/>
                      </a:lnTo>
                      <a:lnTo>
                        <a:pt x="1502" y="317"/>
                      </a:lnTo>
                      <a:lnTo>
                        <a:pt x="1518" y="317"/>
                      </a:lnTo>
                      <a:lnTo>
                        <a:pt x="1527" y="322"/>
                      </a:lnTo>
                      <a:lnTo>
                        <a:pt x="1542" y="324"/>
                      </a:lnTo>
                      <a:lnTo>
                        <a:pt x="1555" y="337"/>
                      </a:lnTo>
                      <a:lnTo>
                        <a:pt x="1564" y="369"/>
                      </a:lnTo>
                      <a:lnTo>
                        <a:pt x="1576" y="375"/>
                      </a:lnTo>
                      <a:lnTo>
                        <a:pt x="1586" y="384"/>
                      </a:lnTo>
                      <a:lnTo>
                        <a:pt x="1592" y="386"/>
                      </a:lnTo>
                      <a:lnTo>
                        <a:pt x="1605" y="399"/>
                      </a:lnTo>
                      <a:lnTo>
                        <a:pt x="1607" y="409"/>
                      </a:lnTo>
                      <a:lnTo>
                        <a:pt x="1610" y="412"/>
                      </a:lnTo>
                      <a:lnTo>
                        <a:pt x="1608" y="420"/>
                      </a:lnTo>
                      <a:lnTo>
                        <a:pt x="1603" y="420"/>
                      </a:lnTo>
                      <a:lnTo>
                        <a:pt x="1597" y="424"/>
                      </a:lnTo>
                      <a:lnTo>
                        <a:pt x="1592" y="437"/>
                      </a:lnTo>
                      <a:lnTo>
                        <a:pt x="1594" y="439"/>
                      </a:lnTo>
                      <a:lnTo>
                        <a:pt x="1592" y="447"/>
                      </a:lnTo>
                      <a:lnTo>
                        <a:pt x="1593" y="449"/>
                      </a:lnTo>
                      <a:lnTo>
                        <a:pt x="1589" y="452"/>
                      </a:lnTo>
                      <a:lnTo>
                        <a:pt x="1589" y="464"/>
                      </a:lnTo>
                      <a:lnTo>
                        <a:pt x="1586" y="479"/>
                      </a:lnTo>
                      <a:lnTo>
                        <a:pt x="1586" y="514"/>
                      </a:lnTo>
                      <a:lnTo>
                        <a:pt x="1561" y="547"/>
                      </a:lnTo>
                      <a:lnTo>
                        <a:pt x="1556" y="559"/>
                      </a:lnTo>
                      <a:lnTo>
                        <a:pt x="1543" y="567"/>
                      </a:lnTo>
                      <a:lnTo>
                        <a:pt x="1539" y="573"/>
                      </a:lnTo>
                      <a:lnTo>
                        <a:pt x="1527" y="602"/>
                      </a:lnTo>
                      <a:lnTo>
                        <a:pt x="1516" y="615"/>
                      </a:lnTo>
                      <a:lnTo>
                        <a:pt x="1502" y="619"/>
                      </a:lnTo>
                      <a:lnTo>
                        <a:pt x="1493" y="628"/>
                      </a:lnTo>
                      <a:lnTo>
                        <a:pt x="1487" y="641"/>
                      </a:lnTo>
                      <a:lnTo>
                        <a:pt x="1484" y="653"/>
                      </a:lnTo>
                      <a:lnTo>
                        <a:pt x="1487" y="680"/>
                      </a:lnTo>
                      <a:lnTo>
                        <a:pt x="1473" y="719"/>
                      </a:lnTo>
                      <a:lnTo>
                        <a:pt x="1458" y="719"/>
                      </a:lnTo>
                      <a:lnTo>
                        <a:pt x="1453" y="715"/>
                      </a:lnTo>
                      <a:lnTo>
                        <a:pt x="1452" y="705"/>
                      </a:lnTo>
                      <a:lnTo>
                        <a:pt x="1447" y="702"/>
                      </a:lnTo>
                      <a:lnTo>
                        <a:pt x="1434" y="690"/>
                      </a:lnTo>
                      <a:lnTo>
                        <a:pt x="1429" y="681"/>
                      </a:lnTo>
                      <a:lnTo>
                        <a:pt x="1429" y="673"/>
                      </a:lnTo>
                      <a:lnTo>
                        <a:pt x="1432" y="672"/>
                      </a:lnTo>
                      <a:lnTo>
                        <a:pt x="1439" y="677"/>
                      </a:lnTo>
                      <a:lnTo>
                        <a:pt x="1444" y="675"/>
                      </a:lnTo>
                      <a:lnTo>
                        <a:pt x="1447" y="670"/>
                      </a:lnTo>
                      <a:lnTo>
                        <a:pt x="1446" y="665"/>
                      </a:lnTo>
                      <a:lnTo>
                        <a:pt x="1451" y="656"/>
                      </a:lnTo>
                      <a:lnTo>
                        <a:pt x="1450" y="646"/>
                      </a:lnTo>
                      <a:lnTo>
                        <a:pt x="1444" y="637"/>
                      </a:lnTo>
                      <a:lnTo>
                        <a:pt x="1439" y="633"/>
                      </a:lnTo>
                      <a:lnTo>
                        <a:pt x="1417" y="631"/>
                      </a:lnTo>
                      <a:lnTo>
                        <a:pt x="1409" y="633"/>
                      </a:lnTo>
                      <a:lnTo>
                        <a:pt x="1400" y="640"/>
                      </a:lnTo>
                      <a:lnTo>
                        <a:pt x="1395" y="652"/>
                      </a:lnTo>
                      <a:lnTo>
                        <a:pt x="1395" y="657"/>
                      </a:lnTo>
                      <a:lnTo>
                        <a:pt x="1387" y="663"/>
                      </a:lnTo>
                      <a:lnTo>
                        <a:pt x="1376" y="678"/>
                      </a:lnTo>
                      <a:lnTo>
                        <a:pt x="1371" y="697"/>
                      </a:lnTo>
                      <a:lnTo>
                        <a:pt x="1376" y="709"/>
                      </a:lnTo>
                      <a:lnTo>
                        <a:pt x="1381" y="713"/>
                      </a:lnTo>
                      <a:lnTo>
                        <a:pt x="1385" y="736"/>
                      </a:lnTo>
                      <a:lnTo>
                        <a:pt x="1384" y="747"/>
                      </a:lnTo>
                      <a:lnTo>
                        <a:pt x="1377" y="759"/>
                      </a:lnTo>
                      <a:lnTo>
                        <a:pt x="1359" y="767"/>
                      </a:lnTo>
                      <a:lnTo>
                        <a:pt x="1341" y="721"/>
                      </a:lnTo>
                      <a:lnTo>
                        <a:pt x="1347" y="714"/>
                      </a:lnTo>
                      <a:lnTo>
                        <a:pt x="1362" y="716"/>
                      </a:lnTo>
                      <a:lnTo>
                        <a:pt x="1368" y="692"/>
                      </a:lnTo>
                      <a:lnTo>
                        <a:pt x="1364" y="687"/>
                      </a:lnTo>
                      <a:lnTo>
                        <a:pt x="1355" y="690"/>
                      </a:lnTo>
                      <a:lnTo>
                        <a:pt x="1355" y="692"/>
                      </a:lnTo>
                      <a:lnTo>
                        <a:pt x="1348" y="689"/>
                      </a:lnTo>
                      <a:lnTo>
                        <a:pt x="1334" y="680"/>
                      </a:lnTo>
                      <a:lnTo>
                        <a:pt x="1325" y="678"/>
                      </a:lnTo>
                      <a:lnTo>
                        <a:pt x="1317" y="682"/>
                      </a:lnTo>
                      <a:lnTo>
                        <a:pt x="1315" y="690"/>
                      </a:lnTo>
                      <a:lnTo>
                        <a:pt x="1307" y="698"/>
                      </a:lnTo>
                      <a:lnTo>
                        <a:pt x="1293" y="699"/>
                      </a:lnTo>
                      <a:lnTo>
                        <a:pt x="1283" y="691"/>
                      </a:lnTo>
                      <a:lnTo>
                        <a:pt x="1279" y="674"/>
                      </a:lnTo>
                      <a:lnTo>
                        <a:pt x="1272" y="667"/>
                      </a:lnTo>
                      <a:lnTo>
                        <a:pt x="1267" y="668"/>
                      </a:lnTo>
                      <a:lnTo>
                        <a:pt x="1265" y="666"/>
                      </a:lnTo>
                      <a:lnTo>
                        <a:pt x="1267" y="659"/>
                      </a:lnTo>
                      <a:lnTo>
                        <a:pt x="1273" y="661"/>
                      </a:lnTo>
                      <a:lnTo>
                        <a:pt x="1300" y="653"/>
                      </a:lnTo>
                      <a:lnTo>
                        <a:pt x="1303" y="648"/>
                      </a:lnTo>
                      <a:lnTo>
                        <a:pt x="1301" y="643"/>
                      </a:lnTo>
                      <a:lnTo>
                        <a:pt x="1305" y="641"/>
                      </a:lnTo>
                      <a:lnTo>
                        <a:pt x="1310" y="642"/>
                      </a:lnTo>
                      <a:lnTo>
                        <a:pt x="1311" y="640"/>
                      </a:lnTo>
                      <a:lnTo>
                        <a:pt x="1318" y="641"/>
                      </a:lnTo>
                      <a:lnTo>
                        <a:pt x="1310" y="651"/>
                      </a:lnTo>
                      <a:lnTo>
                        <a:pt x="1315" y="659"/>
                      </a:lnTo>
                      <a:lnTo>
                        <a:pt x="1325" y="660"/>
                      </a:lnTo>
                      <a:lnTo>
                        <a:pt x="1328" y="663"/>
                      </a:lnTo>
                      <a:lnTo>
                        <a:pt x="1333" y="661"/>
                      </a:lnTo>
                      <a:lnTo>
                        <a:pt x="1341" y="653"/>
                      </a:lnTo>
                      <a:lnTo>
                        <a:pt x="1334" y="639"/>
                      </a:lnTo>
                      <a:lnTo>
                        <a:pt x="1335" y="634"/>
                      </a:lnTo>
                      <a:lnTo>
                        <a:pt x="1333" y="630"/>
                      </a:lnTo>
                      <a:lnTo>
                        <a:pt x="1328" y="629"/>
                      </a:lnTo>
                      <a:lnTo>
                        <a:pt x="1323" y="635"/>
                      </a:lnTo>
                      <a:lnTo>
                        <a:pt x="1322" y="631"/>
                      </a:lnTo>
                      <a:lnTo>
                        <a:pt x="1331" y="619"/>
                      </a:lnTo>
                      <a:lnTo>
                        <a:pt x="1338" y="615"/>
                      </a:lnTo>
                      <a:lnTo>
                        <a:pt x="1342" y="607"/>
                      </a:lnTo>
                      <a:lnTo>
                        <a:pt x="1343" y="599"/>
                      </a:lnTo>
                      <a:lnTo>
                        <a:pt x="1348" y="597"/>
                      </a:lnTo>
                      <a:lnTo>
                        <a:pt x="1356" y="598"/>
                      </a:lnTo>
                      <a:lnTo>
                        <a:pt x="1357" y="594"/>
                      </a:lnTo>
                      <a:lnTo>
                        <a:pt x="1353" y="590"/>
                      </a:lnTo>
                      <a:lnTo>
                        <a:pt x="1355" y="585"/>
                      </a:lnTo>
                      <a:lnTo>
                        <a:pt x="1341" y="576"/>
                      </a:lnTo>
                      <a:lnTo>
                        <a:pt x="1337" y="587"/>
                      </a:lnTo>
                      <a:lnTo>
                        <a:pt x="1333" y="586"/>
                      </a:lnTo>
                      <a:lnTo>
                        <a:pt x="1337" y="579"/>
                      </a:lnTo>
                      <a:lnTo>
                        <a:pt x="1329" y="578"/>
                      </a:lnTo>
                      <a:lnTo>
                        <a:pt x="1326" y="576"/>
                      </a:lnTo>
                      <a:lnTo>
                        <a:pt x="1328" y="566"/>
                      </a:lnTo>
                      <a:lnTo>
                        <a:pt x="1326" y="564"/>
                      </a:lnTo>
                      <a:lnTo>
                        <a:pt x="1322" y="568"/>
                      </a:lnTo>
                      <a:lnTo>
                        <a:pt x="1312" y="563"/>
                      </a:lnTo>
                      <a:lnTo>
                        <a:pt x="1305" y="569"/>
                      </a:lnTo>
                      <a:lnTo>
                        <a:pt x="1306" y="568"/>
                      </a:lnTo>
                      <a:lnTo>
                        <a:pt x="1301" y="566"/>
                      </a:lnTo>
                      <a:lnTo>
                        <a:pt x="1297" y="568"/>
                      </a:lnTo>
                      <a:lnTo>
                        <a:pt x="1291" y="566"/>
                      </a:lnTo>
                      <a:lnTo>
                        <a:pt x="1286" y="569"/>
                      </a:lnTo>
                      <a:lnTo>
                        <a:pt x="1285" y="573"/>
                      </a:lnTo>
                      <a:lnTo>
                        <a:pt x="1290" y="581"/>
                      </a:lnTo>
                      <a:lnTo>
                        <a:pt x="1282" y="590"/>
                      </a:lnTo>
                      <a:lnTo>
                        <a:pt x="1274" y="588"/>
                      </a:lnTo>
                      <a:lnTo>
                        <a:pt x="1265" y="597"/>
                      </a:lnTo>
                      <a:lnTo>
                        <a:pt x="1266" y="608"/>
                      </a:lnTo>
                      <a:lnTo>
                        <a:pt x="1269" y="612"/>
                      </a:lnTo>
                      <a:lnTo>
                        <a:pt x="1264" y="616"/>
                      </a:lnTo>
                      <a:lnTo>
                        <a:pt x="1261" y="613"/>
                      </a:lnTo>
                      <a:lnTo>
                        <a:pt x="1260" y="625"/>
                      </a:lnTo>
                      <a:lnTo>
                        <a:pt x="1243" y="634"/>
                      </a:lnTo>
                      <a:lnTo>
                        <a:pt x="1232" y="651"/>
                      </a:lnTo>
                      <a:lnTo>
                        <a:pt x="1228" y="660"/>
                      </a:lnTo>
                      <a:lnTo>
                        <a:pt x="1216" y="665"/>
                      </a:lnTo>
                      <a:lnTo>
                        <a:pt x="1207" y="673"/>
                      </a:lnTo>
                      <a:lnTo>
                        <a:pt x="1199" y="692"/>
                      </a:lnTo>
                      <a:lnTo>
                        <a:pt x="1201" y="696"/>
                      </a:lnTo>
                      <a:lnTo>
                        <a:pt x="1194" y="703"/>
                      </a:lnTo>
                      <a:lnTo>
                        <a:pt x="1192" y="702"/>
                      </a:lnTo>
                      <a:lnTo>
                        <a:pt x="1192" y="709"/>
                      </a:lnTo>
                      <a:lnTo>
                        <a:pt x="1199" y="703"/>
                      </a:lnTo>
                      <a:lnTo>
                        <a:pt x="1194" y="719"/>
                      </a:lnTo>
                      <a:lnTo>
                        <a:pt x="1207" y="712"/>
                      </a:lnTo>
                      <a:lnTo>
                        <a:pt x="1209" y="709"/>
                      </a:lnTo>
                      <a:lnTo>
                        <a:pt x="1206" y="706"/>
                      </a:lnTo>
                      <a:lnTo>
                        <a:pt x="1209" y="703"/>
                      </a:lnTo>
                      <a:lnTo>
                        <a:pt x="1212" y="707"/>
                      </a:lnTo>
                      <a:lnTo>
                        <a:pt x="1210" y="708"/>
                      </a:lnTo>
                      <a:lnTo>
                        <a:pt x="1212" y="711"/>
                      </a:lnTo>
                      <a:lnTo>
                        <a:pt x="1199" y="721"/>
                      </a:lnTo>
                      <a:lnTo>
                        <a:pt x="1191" y="722"/>
                      </a:lnTo>
                      <a:lnTo>
                        <a:pt x="1189" y="725"/>
                      </a:lnTo>
                      <a:lnTo>
                        <a:pt x="1192" y="732"/>
                      </a:lnTo>
                      <a:lnTo>
                        <a:pt x="1199" y="740"/>
                      </a:lnTo>
                      <a:lnTo>
                        <a:pt x="1205" y="759"/>
                      </a:lnTo>
                      <a:lnTo>
                        <a:pt x="1210" y="768"/>
                      </a:lnTo>
                      <a:lnTo>
                        <a:pt x="1217" y="799"/>
                      </a:lnTo>
                      <a:lnTo>
                        <a:pt x="1223" y="814"/>
                      </a:lnTo>
                      <a:lnTo>
                        <a:pt x="1223" y="821"/>
                      </a:lnTo>
                      <a:lnTo>
                        <a:pt x="1221" y="837"/>
                      </a:lnTo>
                      <a:lnTo>
                        <a:pt x="1215" y="840"/>
                      </a:lnTo>
                      <a:lnTo>
                        <a:pt x="1214" y="835"/>
                      </a:lnTo>
                      <a:lnTo>
                        <a:pt x="1208" y="837"/>
                      </a:lnTo>
                      <a:lnTo>
                        <a:pt x="1199" y="849"/>
                      </a:lnTo>
                      <a:lnTo>
                        <a:pt x="1191" y="852"/>
                      </a:lnTo>
                      <a:lnTo>
                        <a:pt x="1195" y="854"/>
                      </a:lnTo>
                      <a:lnTo>
                        <a:pt x="1205" y="852"/>
                      </a:lnTo>
                      <a:lnTo>
                        <a:pt x="1212" y="840"/>
                      </a:lnTo>
                      <a:lnTo>
                        <a:pt x="1215" y="841"/>
                      </a:lnTo>
                      <a:lnTo>
                        <a:pt x="1218" y="839"/>
                      </a:lnTo>
                      <a:lnTo>
                        <a:pt x="1225" y="838"/>
                      </a:lnTo>
                      <a:lnTo>
                        <a:pt x="1229" y="841"/>
                      </a:lnTo>
                      <a:lnTo>
                        <a:pt x="1223" y="847"/>
                      </a:lnTo>
                      <a:lnTo>
                        <a:pt x="1213" y="869"/>
                      </a:lnTo>
                      <a:lnTo>
                        <a:pt x="1213" y="882"/>
                      </a:lnTo>
                      <a:lnTo>
                        <a:pt x="1220" y="904"/>
                      </a:lnTo>
                      <a:lnTo>
                        <a:pt x="1216" y="933"/>
                      </a:lnTo>
                      <a:lnTo>
                        <a:pt x="1216" y="951"/>
                      </a:lnTo>
                      <a:lnTo>
                        <a:pt x="1205" y="954"/>
                      </a:lnTo>
                      <a:lnTo>
                        <a:pt x="1188" y="975"/>
                      </a:lnTo>
                      <a:lnTo>
                        <a:pt x="1179" y="976"/>
                      </a:lnTo>
                      <a:lnTo>
                        <a:pt x="1181" y="992"/>
                      </a:lnTo>
                      <a:lnTo>
                        <a:pt x="1185" y="998"/>
                      </a:lnTo>
                      <a:lnTo>
                        <a:pt x="1186" y="1003"/>
                      </a:lnTo>
                      <a:lnTo>
                        <a:pt x="1185" y="1004"/>
                      </a:lnTo>
                      <a:lnTo>
                        <a:pt x="1180" y="1010"/>
                      </a:lnTo>
                      <a:lnTo>
                        <a:pt x="1183" y="1021"/>
                      </a:lnTo>
                      <a:lnTo>
                        <a:pt x="1180" y="1025"/>
                      </a:lnTo>
                      <a:lnTo>
                        <a:pt x="1160" y="1016"/>
                      </a:lnTo>
                      <a:lnTo>
                        <a:pt x="1151" y="1005"/>
                      </a:lnTo>
                      <a:lnTo>
                        <a:pt x="1149" y="1001"/>
                      </a:lnTo>
                      <a:lnTo>
                        <a:pt x="1152" y="989"/>
                      </a:lnTo>
                      <a:lnTo>
                        <a:pt x="1146" y="981"/>
                      </a:lnTo>
                      <a:lnTo>
                        <a:pt x="1144" y="988"/>
                      </a:lnTo>
                      <a:lnTo>
                        <a:pt x="1138" y="992"/>
                      </a:lnTo>
                      <a:lnTo>
                        <a:pt x="1136" y="998"/>
                      </a:lnTo>
                      <a:lnTo>
                        <a:pt x="1139" y="1000"/>
                      </a:lnTo>
                      <a:lnTo>
                        <a:pt x="1138" y="1003"/>
                      </a:lnTo>
                      <a:lnTo>
                        <a:pt x="1130" y="1001"/>
                      </a:lnTo>
                      <a:lnTo>
                        <a:pt x="1117" y="1013"/>
                      </a:lnTo>
                      <a:lnTo>
                        <a:pt x="1101" y="1015"/>
                      </a:lnTo>
                      <a:lnTo>
                        <a:pt x="1092" y="1019"/>
                      </a:lnTo>
                      <a:lnTo>
                        <a:pt x="1092" y="1011"/>
                      </a:lnTo>
                      <a:lnTo>
                        <a:pt x="1104" y="993"/>
                      </a:lnTo>
                      <a:lnTo>
                        <a:pt x="1135" y="998"/>
                      </a:lnTo>
                      <a:lnTo>
                        <a:pt x="1137" y="992"/>
                      </a:lnTo>
                      <a:lnTo>
                        <a:pt x="1134" y="987"/>
                      </a:lnTo>
                      <a:lnTo>
                        <a:pt x="1133" y="979"/>
                      </a:lnTo>
                      <a:lnTo>
                        <a:pt x="1111" y="978"/>
                      </a:lnTo>
                      <a:lnTo>
                        <a:pt x="1106" y="982"/>
                      </a:lnTo>
                      <a:lnTo>
                        <a:pt x="1091" y="987"/>
                      </a:lnTo>
                      <a:lnTo>
                        <a:pt x="1080" y="987"/>
                      </a:lnTo>
                      <a:lnTo>
                        <a:pt x="1070" y="981"/>
                      </a:lnTo>
                      <a:lnTo>
                        <a:pt x="1057" y="982"/>
                      </a:lnTo>
                      <a:lnTo>
                        <a:pt x="1053" y="984"/>
                      </a:lnTo>
                      <a:lnTo>
                        <a:pt x="1049" y="996"/>
                      </a:lnTo>
                      <a:lnTo>
                        <a:pt x="1052" y="999"/>
                      </a:lnTo>
                      <a:lnTo>
                        <a:pt x="1052" y="1004"/>
                      </a:lnTo>
                      <a:lnTo>
                        <a:pt x="1033" y="1001"/>
                      </a:lnTo>
                      <a:lnTo>
                        <a:pt x="1024" y="1005"/>
                      </a:lnTo>
                      <a:lnTo>
                        <a:pt x="1011" y="993"/>
                      </a:lnTo>
                      <a:lnTo>
                        <a:pt x="1011" y="988"/>
                      </a:lnTo>
                      <a:lnTo>
                        <a:pt x="1016" y="987"/>
                      </a:lnTo>
                      <a:lnTo>
                        <a:pt x="1014" y="985"/>
                      </a:lnTo>
                      <a:lnTo>
                        <a:pt x="1004" y="982"/>
                      </a:lnTo>
                      <a:lnTo>
                        <a:pt x="999" y="986"/>
                      </a:lnTo>
                      <a:lnTo>
                        <a:pt x="996" y="982"/>
                      </a:lnTo>
                      <a:lnTo>
                        <a:pt x="988" y="982"/>
                      </a:lnTo>
                      <a:lnTo>
                        <a:pt x="989" y="987"/>
                      </a:lnTo>
                      <a:lnTo>
                        <a:pt x="1000" y="990"/>
                      </a:lnTo>
                      <a:lnTo>
                        <a:pt x="1010" y="987"/>
                      </a:lnTo>
                      <a:lnTo>
                        <a:pt x="1009" y="991"/>
                      </a:lnTo>
                      <a:lnTo>
                        <a:pt x="1012" y="998"/>
                      </a:lnTo>
                      <a:lnTo>
                        <a:pt x="1004" y="1000"/>
                      </a:lnTo>
                      <a:lnTo>
                        <a:pt x="1001" y="1006"/>
                      </a:lnTo>
                      <a:lnTo>
                        <a:pt x="1001" y="1010"/>
                      </a:lnTo>
                      <a:lnTo>
                        <a:pt x="1003" y="1015"/>
                      </a:lnTo>
                      <a:lnTo>
                        <a:pt x="1004" y="1016"/>
                      </a:lnTo>
                      <a:lnTo>
                        <a:pt x="1011" y="1020"/>
                      </a:lnTo>
                      <a:lnTo>
                        <a:pt x="1041" y="1029"/>
                      </a:lnTo>
                      <a:lnTo>
                        <a:pt x="1053" y="1030"/>
                      </a:lnTo>
                      <a:lnTo>
                        <a:pt x="1057" y="1033"/>
                      </a:lnTo>
                      <a:lnTo>
                        <a:pt x="1071" y="1037"/>
                      </a:lnTo>
                      <a:lnTo>
                        <a:pt x="1076" y="1036"/>
                      </a:lnTo>
                      <a:lnTo>
                        <a:pt x="1082" y="1027"/>
                      </a:lnTo>
                      <a:lnTo>
                        <a:pt x="1084" y="1031"/>
                      </a:lnTo>
                      <a:lnTo>
                        <a:pt x="1080" y="1035"/>
                      </a:lnTo>
                      <a:lnTo>
                        <a:pt x="1083" y="1037"/>
                      </a:lnTo>
                      <a:lnTo>
                        <a:pt x="1079" y="1045"/>
                      </a:lnTo>
                      <a:lnTo>
                        <a:pt x="1088" y="1038"/>
                      </a:lnTo>
                      <a:lnTo>
                        <a:pt x="1099" y="1038"/>
                      </a:lnTo>
                      <a:lnTo>
                        <a:pt x="1101" y="1040"/>
                      </a:lnTo>
                      <a:lnTo>
                        <a:pt x="1101" y="1046"/>
                      </a:lnTo>
                      <a:lnTo>
                        <a:pt x="1108" y="1054"/>
                      </a:lnTo>
                      <a:lnTo>
                        <a:pt x="1082" y="1082"/>
                      </a:lnTo>
                      <a:lnTo>
                        <a:pt x="1080" y="1087"/>
                      </a:lnTo>
                      <a:lnTo>
                        <a:pt x="1081" y="1096"/>
                      </a:lnTo>
                      <a:lnTo>
                        <a:pt x="1085" y="1104"/>
                      </a:lnTo>
                      <a:lnTo>
                        <a:pt x="1115" y="1110"/>
                      </a:lnTo>
                      <a:lnTo>
                        <a:pt x="1118" y="1117"/>
                      </a:lnTo>
                      <a:lnTo>
                        <a:pt x="1101" y="1117"/>
                      </a:lnTo>
                      <a:lnTo>
                        <a:pt x="1091" y="1128"/>
                      </a:lnTo>
                      <a:lnTo>
                        <a:pt x="1080" y="1129"/>
                      </a:lnTo>
                      <a:lnTo>
                        <a:pt x="1072" y="1134"/>
                      </a:lnTo>
                      <a:lnTo>
                        <a:pt x="1071" y="1143"/>
                      </a:lnTo>
                      <a:lnTo>
                        <a:pt x="1080" y="1148"/>
                      </a:lnTo>
                      <a:lnTo>
                        <a:pt x="1082" y="1146"/>
                      </a:lnTo>
                      <a:lnTo>
                        <a:pt x="1088" y="1166"/>
                      </a:lnTo>
                      <a:lnTo>
                        <a:pt x="1078" y="1161"/>
                      </a:lnTo>
                      <a:lnTo>
                        <a:pt x="1058" y="1167"/>
                      </a:lnTo>
                      <a:lnTo>
                        <a:pt x="1027" y="1169"/>
                      </a:lnTo>
                      <a:lnTo>
                        <a:pt x="1005" y="1176"/>
                      </a:lnTo>
                      <a:lnTo>
                        <a:pt x="993" y="1180"/>
                      </a:lnTo>
                      <a:lnTo>
                        <a:pt x="984" y="1189"/>
                      </a:lnTo>
                      <a:lnTo>
                        <a:pt x="969" y="1193"/>
                      </a:lnTo>
                      <a:lnTo>
                        <a:pt x="963" y="1184"/>
                      </a:lnTo>
                      <a:lnTo>
                        <a:pt x="949" y="1181"/>
                      </a:lnTo>
                      <a:lnTo>
                        <a:pt x="928" y="1182"/>
                      </a:lnTo>
                      <a:lnTo>
                        <a:pt x="913" y="1165"/>
                      </a:lnTo>
                      <a:lnTo>
                        <a:pt x="911" y="1160"/>
                      </a:lnTo>
                      <a:lnTo>
                        <a:pt x="902" y="1160"/>
                      </a:lnTo>
                      <a:lnTo>
                        <a:pt x="899" y="1154"/>
                      </a:lnTo>
                      <a:lnTo>
                        <a:pt x="887" y="1150"/>
                      </a:lnTo>
                      <a:lnTo>
                        <a:pt x="887" y="1150"/>
                      </a:lnTo>
                      <a:lnTo>
                        <a:pt x="894" y="1126"/>
                      </a:lnTo>
                      <a:lnTo>
                        <a:pt x="892" y="1113"/>
                      </a:lnTo>
                      <a:lnTo>
                        <a:pt x="875" y="1103"/>
                      </a:lnTo>
                      <a:lnTo>
                        <a:pt x="872" y="1109"/>
                      </a:lnTo>
                      <a:lnTo>
                        <a:pt x="859" y="1104"/>
                      </a:lnTo>
                      <a:lnTo>
                        <a:pt x="847" y="1111"/>
                      </a:lnTo>
                      <a:lnTo>
                        <a:pt x="837" y="1098"/>
                      </a:lnTo>
                      <a:lnTo>
                        <a:pt x="844" y="1089"/>
                      </a:lnTo>
                      <a:lnTo>
                        <a:pt x="838" y="1081"/>
                      </a:lnTo>
                      <a:lnTo>
                        <a:pt x="835" y="1087"/>
                      </a:lnTo>
                      <a:lnTo>
                        <a:pt x="811" y="1089"/>
                      </a:lnTo>
                      <a:lnTo>
                        <a:pt x="812" y="1078"/>
                      </a:lnTo>
                      <a:lnTo>
                        <a:pt x="801" y="1076"/>
                      </a:lnTo>
                      <a:lnTo>
                        <a:pt x="794" y="1052"/>
                      </a:lnTo>
                      <a:lnTo>
                        <a:pt x="792" y="1035"/>
                      </a:lnTo>
                      <a:lnTo>
                        <a:pt x="780" y="1035"/>
                      </a:lnTo>
                      <a:lnTo>
                        <a:pt x="780" y="1029"/>
                      </a:lnTo>
                      <a:lnTo>
                        <a:pt x="759" y="1027"/>
                      </a:lnTo>
                      <a:lnTo>
                        <a:pt x="764" y="1012"/>
                      </a:lnTo>
                      <a:lnTo>
                        <a:pt x="755" y="1009"/>
                      </a:lnTo>
                      <a:lnTo>
                        <a:pt x="768" y="1001"/>
                      </a:lnTo>
                      <a:lnTo>
                        <a:pt x="726" y="943"/>
                      </a:lnTo>
                      <a:lnTo>
                        <a:pt x="727" y="942"/>
                      </a:lnTo>
                      <a:lnTo>
                        <a:pt x="726" y="937"/>
                      </a:lnTo>
                      <a:lnTo>
                        <a:pt x="726" y="937"/>
                      </a:lnTo>
                      <a:lnTo>
                        <a:pt x="726" y="935"/>
                      </a:lnTo>
                      <a:lnTo>
                        <a:pt x="704" y="922"/>
                      </a:lnTo>
                      <a:lnTo>
                        <a:pt x="702" y="925"/>
                      </a:lnTo>
                      <a:lnTo>
                        <a:pt x="702" y="925"/>
                      </a:lnTo>
                      <a:lnTo>
                        <a:pt x="702" y="925"/>
                      </a:lnTo>
                      <a:lnTo>
                        <a:pt x="702" y="925"/>
                      </a:lnTo>
                      <a:lnTo>
                        <a:pt x="699" y="928"/>
                      </a:lnTo>
                      <a:lnTo>
                        <a:pt x="699" y="928"/>
                      </a:lnTo>
                      <a:lnTo>
                        <a:pt x="697" y="930"/>
                      </a:lnTo>
                      <a:lnTo>
                        <a:pt x="697" y="930"/>
                      </a:lnTo>
                      <a:lnTo>
                        <a:pt x="688" y="928"/>
                      </a:lnTo>
                      <a:lnTo>
                        <a:pt x="682" y="923"/>
                      </a:lnTo>
                      <a:lnTo>
                        <a:pt x="679" y="925"/>
                      </a:lnTo>
                      <a:lnTo>
                        <a:pt x="679" y="925"/>
                      </a:lnTo>
                      <a:lnTo>
                        <a:pt x="666" y="923"/>
                      </a:lnTo>
                      <a:lnTo>
                        <a:pt x="653" y="908"/>
                      </a:lnTo>
                      <a:lnTo>
                        <a:pt x="631" y="907"/>
                      </a:lnTo>
                      <a:lnTo>
                        <a:pt x="618" y="932"/>
                      </a:lnTo>
                      <a:lnTo>
                        <a:pt x="618" y="946"/>
                      </a:lnTo>
                      <a:lnTo>
                        <a:pt x="592" y="978"/>
                      </a:lnTo>
                      <a:lnTo>
                        <a:pt x="574" y="993"/>
                      </a:lnTo>
                      <a:lnTo>
                        <a:pt x="563" y="986"/>
                      </a:lnTo>
                      <a:lnTo>
                        <a:pt x="556" y="996"/>
                      </a:lnTo>
                      <a:lnTo>
                        <a:pt x="548" y="1018"/>
                      </a:lnTo>
                      <a:lnTo>
                        <a:pt x="542" y="1012"/>
                      </a:lnTo>
                      <a:lnTo>
                        <a:pt x="534" y="1026"/>
                      </a:lnTo>
                      <a:lnTo>
                        <a:pt x="525" y="1022"/>
                      </a:lnTo>
                      <a:lnTo>
                        <a:pt x="513" y="1031"/>
                      </a:lnTo>
                      <a:lnTo>
                        <a:pt x="485" y="1017"/>
                      </a:lnTo>
                      <a:lnTo>
                        <a:pt x="489" y="977"/>
                      </a:lnTo>
                      <a:lnTo>
                        <a:pt x="441" y="966"/>
                      </a:lnTo>
                      <a:lnTo>
                        <a:pt x="440" y="968"/>
                      </a:lnTo>
                      <a:lnTo>
                        <a:pt x="432" y="967"/>
                      </a:lnTo>
                      <a:lnTo>
                        <a:pt x="427" y="982"/>
                      </a:lnTo>
                      <a:lnTo>
                        <a:pt x="417" y="980"/>
                      </a:lnTo>
                      <a:lnTo>
                        <a:pt x="408" y="1015"/>
                      </a:lnTo>
                      <a:lnTo>
                        <a:pt x="392" y="1024"/>
                      </a:lnTo>
                      <a:lnTo>
                        <a:pt x="410" y="1043"/>
                      </a:lnTo>
                      <a:lnTo>
                        <a:pt x="373" y="1056"/>
                      </a:lnTo>
                      <a:lnTo>
                        <a:pt x="351" y="1049"/>
                      </a:lnTo>
                      <a:lnTo>
                        <a:pt x="343" y="1024"/>
                      </a:lnTo>
                      <a:lnTo>
                        <a:pt x="326" y="1014"/>
                      </a:lnTo>
                      <a:lnTo>
                        <a:pt x="279" y="1027"/>
                      </a:lnTo>
                      <a:lnTo>
                        <a:pt x="266" y="1015"/>
                      </a:lnTo>
                      <a:lnTo>
                        <a:pt x="244" y="1021"/>
                      </a:lnTo>
                      <a:lnTo>
                        <a:pt x="253" y="1040"/>
                      </a:lnTo>
                      <a:lnTo>
                        <a:pt x="248" y="1050"/>
                      </a:lnTo>
                      <a:lnTo>
                        <a:pt x="233" y="1052"/>
                      </a:lnTo>
                      <a:lnTo>
                        <a:pt x="234" y="1075"/>
                      </a:lnTo>
                      <a:lnTo>
                        <a:pt x="223" y="1085"/>
                      </a:lnTo>
                      <a:lnTo>
                        <a:pt x="198" y="1086"/>
                      </a:lnTo>
                      <a:lnTo>
                        <a:pt x="194" y="1074"/>
                      </a:lnTo>
                      <a:lnTo>
                        <a:pt x="178" y="1067"/>
                      </a:lnTo>
                      <a:lnTo>
                        <a:pt x="183" y="1063"/>
                      </a:lnTo>
                      <a:lnTo>
                        <a:pt x="159" y="1061"/>
                      </a:lnTo>
                      <a:lnTo>
                        <a:pt x="143" y="1040"/>
                      </a:lnTo>
                      <a:lnTo>
                        <a:pt x="126" y="1062"/>
                      </a:lnTo>
                      <a:lnTo>
                        <a:pt x="105" y="1061"/>
                      </a:lnTo>
                      <a:lnTo>
                        <a:pt x="102" y="1065"/>
                      </a:lnTo>
                      <a:lnTo>
                        <a:pt x="98" y="1065"/>
                      </a:lnTo>
                      <a:lnTo>
                        <a:pt x="83" y="1051"/>
                      </a:lnTo>
                      <a:lnTo>
                        <a:pt x="71" y="1045"/>
                      </a:lnTo>
                      <a:lnTo>
                        <a:pt x="71" y="1035"/>
                      </a:lnTo>
                      <a:lnTo>
                        <a:pt x="52" y="1030"/>
                      </a:lnTo>
                      <a:lnTo>
                        <a:pt x="46" y="1031"/>
                      </a:lnTo>
                      <a:lnTo>
                        <a:pt x="46" y="1031"/>
                      </a:lnTo>
                      <a:lnTo>
                        <a:pt x="50" y="1016"/>
                      </a:lnTo>
                      <a:lnTo>
                        <a:pt x="49" y="1016"/>
                      </a:lnTo>
                      <a:lnTo>
                        <a:pt x="49" y="1012"/>
                      </a:lnTo>
                      <a:lnTo>
                        <a:pt x="56" y="1010"/>
                      </a:lnTo>
                      <a:lnTo>
                        <a:pt x="62" y="1000"/>
                      </a:lnTo>
                      <a:lnTo>
                        <a:pt x="61" y="997"/>
                      </a:lnTo>
                      <a:lnTo>
                        <a:pt x="60" y="995"/>
                      </a:lnTo>
                      <a:lnTo>
                        <a:pt x="62" y="991"/>
                      </a:lnTo>
                      <a:lnTo>
                        <a:pt x="55" y="985"/>
                      </a:lnTo>
                      <a:lnTo>
                        <a:pt x="56" y="981"/>
                      </a:lnTo>
                      <a:lnTo>
                        <a:pt x="58" y="984"/>
                      </a:lnTo>
                      <a:lnTo>
                        <a:pt x="64" y="981"/>
                      </a:lnTo>
                      <a:lnTo>
                        <a:pt x="60" y="974"/>
                      </a:lnTo>
                      <a:lnTo>
                        <a:pt x="62" y="973"/>
                      </a:lnTo>
                      <a:lnTo>
                        <a:pt x="61" y="968"/>
                      </a:lnTo>
                      <a:lnTo>
                        <a:pt x="64" y="965"/>
                      </a:lnTo>
                      <a:lnTo>
                        <a:pt x="76" y="967"/>
                      </a:lnTo>
                      <a:lnTo>
                        <a:pt x="76" y="971"/>
                      </a:lnTo>
                      <a:lnTo>
                        <a:pt x="70" y="971"/>
                      </a:lnTo>
                      <a:lnTo>
                        <a:pt x="78" y="980"/>
                      </a:lnTo>
                      <a:lnTo>
                        <a:pt x="77" y="981"/>
                      </a:lnTo>
                      <a:lnTo>
                        <a:pt x="82" y="986"/>
                      </a:lnTo>
                      <a:lnTo>
                        <a:pt x="85" y="985"/>
                      </a:lnTo>
                      <a:lnTo>
                        <a:pt x="85" y="979"/>
                      </a:lnTo>
                      <a:lnTo>
                        <a:pt x="91" y="978"/>
                      </a:lnTo>
                      <a:lnTo>
                        <a:pt x="95" y="980"/>
                      </a:lnTo>
                      <a:lnTo>
                        <a:pt x="97" y="978"/>
                      </a:lnTo>
                      <a:lnTo>
                        <a:pt x="102" y="984"/>
                      </a:lnTo>
                      <a:lnTo>
                        <a:pt x="92" y="996"/>
                      </a:lnTo>
                      <a:lnTo>
                        <a:pt x="93" y="1008"/>
                      </a:lnTo>
                      <a:lnTo>
                        <a:pt x="91" y="1015"/>
                      </a:lnTo>
                      <a:lnTo>
                        <a:pt x="97" y="1020"/>
                      </a:lnTo>
                      <a:lnTo>
                        <a:pt x="100" y="1013"/>
                      </a:lnTo>
                      <a:lnTo>
                        <a:pt x="103" y="1012"/>
                      </a:lnTo>
                      <a:lnTo>
                        <a:pt x="112" y="1007"/>
                      </a:lnTo>
                      <a:lnTo>
                        <a:pt x="115" y="1002"/>
                      </a:lnTo>
                      <a:lnTo>
                        <a:pt x="129" y="993"/>
                      </a:lnTo>
                      <a:lnTo>
                        <a:pt x="134" y="986"/>
                      </a:lnTo>
                      <a:lnTo>
                        <a:pt x="146" y="970"/>
                      </a:lnTo>
                      <a:lnTo>
                        <a:pt x="160" y="960"/>
                      </a:lnTo>
                      <a:lnTo>
                        <a:pt x="161" y="957"/>
                      </a:lnTo>
                      <a:lnTo>
                        <a:pt x="159" y="949"/>
                      </a:lnTo>
                      <a:lnTo>
                        <a:pt x="153" y="944"/>
                      </a:lnTo>
                      <a:lnTo>
                        <a:pt x="157" y="940"/>
                      </a:lnTo>
                      <a:lnTo>
                        <a:pt x="157" y="933"/>
                      </a:lnTo>
                      <a:lnTo>
                        <a:pt x="157" y="923"/>
                      </a:lnTo>
                      <a:lnTo>
                        <a:pt x="157" y="916"/>
                      </a:lnTo>
                      <a:lnTo>
                        <a:pt x="153" y="913"/>
                      </a:lnTo>
                      <a:lnTo>
                        <a:pt x="152" y="909"/>
                      </a:lnTo>
                      <a:lnTo>
                        <a:pt x="150" y="905"/>
                      </a:lnTo>
                      <a:lnTo>
                        <a:pt x="145" y="900"/>
                      </a:lnTo>
                      <a:lnTo>
                        <a:pt x="139" y="893"/>
                      </a:lnTo>
                      <a:lnTo>
                        <a:pt x="133" y="886"/>
                      </a:lnTo>
                      <a:lnTo>
                        <a:pt x="121" y="865"/>
                      </a:lnTo>
                      <a:lnTo>
                        <a:pt x="118" y="848"/>
                      </a:lnTo>
                      <a:lnTo>
                        <a:pt x="119" y="834"/>
                      </a:lnTo>
                      <a:lnTo>
                        <a:pt x="115" y="824"/>
                      </a:lnTo>
                      <a:lnTo>
                        <a:pt x="118" y="809"/>
                      </a:lnTo>
                      <a:lnTo>
                        <a:pt x="116" y="803"/>
                      </a:lnTo>
                      <a:lnTo>
                        <a:pt x="101" y="792"/>
                      </a:lnTo>
                      <a:lnTo>
                        <a:pt x="84" y="776"/>
                      </a:lnTo>
                      <a:lnTo>
                        <a:pt x="76" y="769"/>
                      </a:lnTo>
                      <a:lnTo>
                        <a:pt x="40" y="756"/>
                      </a:lnTo>
                      <a:lnTo>
                        <a:pt x="36" y="757"/>
                      </a:lnTo>
                      <a:lnTo>
                        <a:pt x="34" y="752"/>
                      </a:lnTo>
                      <a:lnTo>
                        <a:pt x="17" y="742"/>
                      </a:lnTo>
                      <a:lnTo>
                        <a:pt x="24" y="750"/>
                      </a:lnTo>
                      <a:lnTo>
                        <a:pt x="24" y="757"/>
                      </a:lnTo>
                      <a:lnTo>
                        <a:pt x="28" y="762"/>
                      </a:lnTo>
                      <a:lnTo>
                        <a:pt x="20" y="772"/>
                      </a:lnTo>
                      <a:lnTo>
                        <a:pt x="19" y="777"/>
                      </a:lnTo>
                      <a:lnTo>
                        <a:pt x="17" y="803"/>
                      </a:lnTo>
                      <a:lnTo>
                        <a:pt x="18" y="810"/>
                      </a:lnTo>
                      <a:lnTo>
                        <a:pt x="14" y="824"/>
                      </a:lnTo>
                      <a:lnTo>
                        <a:pt x="21" y="852"/>
                      </a:lnTo>
                      <a:lnTo>
                        <a:pt x="27" y="854"/>
                      </a:lnTo>
                      <a:lnTo>
                        <a:pt x="18" y="858"/>
                      </a:lnTo>
                      <a:lnTo>
                        <a:pt x="13" y="856"/>
                      </a:lnTo>
                      <a:lnTo>
                        <a:pt x="14" y="859"/>
                      </a:lnTo>
                      <a:lnTo>
                        <a:pt x="9" y="862"/>
                      </a:lnTo>
                      <a:lnTo>
                        <a:pt x="0" y="818"/>
                      </a:lnTo>
                      <a:lnTo>
                        <a:pt x="3" y="756"/>
                      </a:lnTo>
                      <a:lnTo>
                        <a:pt x="18" y="650"/>
                      </a:lnTo>
                      <a:lnTo>
                        <a:pt x="19" y="609"/>
                      </a:lnTo>
                      <a:lnTo>
                        <a:pt x="9" y="486"/>
                      </a:lnTo>
                      <a:lnTo>
                        <a:pt x="11" y="486"/>
                      </a:lnTo>
                      <a:lnTo>
                        <a:pt x="19" y="487"/>
                      </a:lnTo>
                      <a:lnTo>
                        <a:pt x="21" y="489"/>
                      </a:lnTo>
                      <a:lnTo>
                        <a:pt x="14" y="488"/>
                      </a:lnTo>
                      <a:lnTo>
                        <a:pt x="12" y="491"/>
                      </a:lnTo>
                      <a:lnTo>
                        <a:pt x="20" y="490"/>
                      </a:lnTo>
                      <a:lnTo>
                        <a:pt x="23" y="494"/>
                      </a:lnTo>
                      <a:lnTo>
                        <a:pt x="19" y="501"/>
                      </a:lnTo>
                      <a:lnTo>
                        <a:pt x="19" y="508"/>
                      </a:lnTo>
                      <a:lnTo>
                        <a:pt x="16" y="509"/>
                      </a:lnTo>
                      <a:lnTo>
                        <a:pt x="18" y="531"/>
                      </a:lnTo>
                      <a:lnTo>
                        <a:pt x="27" y="528"/>
                      </a:lnTo>
                      <a:lnTo>
                        <a:pt x="29" y="527"/>
                      </a:lnTo>
                      <a:lnTo>
                        <a:pt x="37" y="521"/>
                      </a:lnTo>
                      <a:lnTo>
                        <a:pt x="39" y="536"/>
                      </a:lnTo>
                      <a:lnTo>
                        <a:pt x="52" y="532"/>
                      </a:lnTo>
                      <a:lnTo>
                        <a:pt x="60" y="539"/>
                      </a:lnTo>
                      <a:lnTo>
                        <a:pt x="78" y="537"/>
                      </a:lnTo>
                      <a:lnTo>
                        <a:pt x="77" y="544"/>
                      </a:lnTo>
                      <a:lnTo>
                        <a:pt x="82" y="557"/>
                      </a:lnTo>
                      <a:lnTo>
                        <a:pt x="76" y="560"/>
                      </a:lnTo>
                      <a:lnTo>
                        <a:pt x="82" y="569"/>
                      </a:lnTo>
                      <a:lnTo>
                        <a:pt x="86" y="571"/>
                      </a:lnTo>
                      <a:lnTo>
                        <a:pt x="97" y="562"/>
                      </a:lnTo>
                      <a:lnTo>
                        <a:pt x="100" y="561"/>
                      </a:lnTo>
                      <a:lnTo>
                        <a:pt x="108" y="545"/>
                      </a:lnTo>
                      <a:lnTo>
                        <a:pt x="114" y="539"/>
                      </a:lnTo>
                      <a:lnTo>
                        <a:pt x="114" y="536"/>
                      </a:lnTo>
                      <a:lnTo>
                        <a:pt x="108" y="542"/>
                      </a:lnTo>
                      <a:lnTo>
                        <a:pt x="104" y="538"/>
                      </a:lnTo>
                      <a:lnTo>
                        <a:pt x="91" y="534"/>
                      </a:lnTo>
                      <a:lnTo>
                        <a:pt x="89" y="533"/>
                      </a:lnTo>
                      <a:lnTo>
                        <a:pt x="88" y="530"/>
                      </a:lnTo>
                      <a:lnTo>
                        <a:pt x="84" y="529"/>
                      </a:lnTo>
                      <a:lnTo>
                        <a:pt x="86" y="525"/>
                      </a:lnTo>
                      <a:lnTo>
                        <a:pt x="90" y="524"/>
                      </a:lnTo>
                      <a:lnTo>
                        <a:pt x="86" y="511"/>
                      </a:lnTo>
                      <a:lnTo>
                        <a:pt x="81" y="508"/>
                      </a:lnTo>
                      <a:lnTo>
                        <a:pt x="81" y="503"/>
                      </a:lnTo>
                      <a:lnTo>
                        <a:pt x="77" y="500"/>
                      </a:lnTo>
                      <a:lnTo>
                        <a:pt x="66" y="492"/>
                      </a:lnTo>
                      <a:lnTo>
                        <a:pt x="57" y="487"/>
                      </a:lnTo>
                      <a:lnTo>
                        <a:pt x="49" y="478"/>
                      </a:lnTo>
                      <a:lnTo>
                        <a:pt x="46" y="468"/>
                      </a:lnTo>
                      <a:lnTo>
                        <a:pt x="38" y="457"/>
                      </a:lnTo>
                      <a:lnTo>
                        <a:pt x="39" y="445"/>
                      </a:lnTo>
                      <a:lnTo>
                        <a:pt x="35" y="444"/>
                      </a:lnTo>
                      <a:lnTo>
                        <a:pt x="39" y="440"/>
                      </a:lnTo>
                      <a:lnTo>
                        <a:pt x="36" y="421"/>
                      </a:lnTo>
                      <a:lnTo>
                        <a:pt x="27" y="425"/>
                      </a:lnTo>
                      <a:lnTo>
                        <a:pt x="18" y="418"/>
                      </a:lnTo>
                      <a:lnTo>
                        <a:pt x="17" y="423"/>
                      </a:lnTo>
                      <a:lnTo>
                        <a:pt x="13" y="423"/>
                      </a:lnTo>
                      <a:lnTo>
                        <a:pt x="18" y="427"/>
                      </a:lnTo>
                      <a:lnTo>
                        <a:pt x="19" y="435"/>
                      </a:lnTo>
                      <a:lnTo>
                        <a:pt x="17" y="439"/>
                      </a:lnTo>
                      <a:lnTo>
                        <a:pt x="13" y="440"/>
                      </a:lnTo>
                      <a:lnTo>
                        <a:pt x="17" y="448"/>
                      </a:lnTo>
                      <a:lnTo>
                        <a:pt x="12" y="450"/>
                      </a:lnTo>
                      <a:lnTo>
                        <a:pt x="18" y="452"/>
                      </a:lnTo>
                      <a:lnTo>
                        <a:pt x="12" y="457"/>
                      </a:lnTo>
                      <a:lnTo>
                        <a:pt x="18" y="457"/>
                      </a:lnTo>
                      <a:lnTo>
                        <a:pt x="20" y="468"/>
                      </a:lnTo>
                      <a:lnTo>
                        <a:pt x="13" y="467"/>
                      </a:lnTo>
                      <a:lnTo>
                        <a:pt x="18" y="473"/>
                      </a:lnTo>
                      <a:lnTo>
                        <a:pt x="12" y="478"/>
                      </a:lnTo>
                      <a:lnTo>
                        <a:pt x="18" y="479"/>
                      </a:lnTo>
                      <a:lnTo>
                        <a:pt x="17" y="483"/>
                      </a:lnTo>
                      <a:lnTo>
                        <a:pt x="8" y="485"/>
                      </a:lnTo>
                      <a:lnTo>
                        <a:pt x="14" y="382"/>
                      </a:lnTo>
                      <a:lnTo>
                        <a:pt x="8" y="347"/>
                      </a:lnTo>
                      <a:lnTo>
                        <a:pt x="8" y="330"/>
                      </a:lnTo>
                      <a:lnTo>
                        <a:pt x="13" y="296"/>
                      </a:lnTo>
                      <a:lnTo>
                        <a:pt x="39" y="192"/>
                      </a:lnTo>
                      <a:lnTo>
                        <a:pt x="58" y="149"/>
                      </a:lnTo>
                      <a:lnTo>
                        <a:pt x="63" y="142"/>
                      </a:lnTo>
                      <a:lnTo>
                        <a:pt x="68" y="144"/>
                      </a:lnTo>
                      <a:lnTo>
                        <a:pt x="69" y="148"/>
                      </a:lnTo>
                      <a:lnTo>
                        <a:pt x="66" y="150"/>
                      </a:lnTo>
                      <a:lnTo>
                        <a:pt x="69" y="153"/>
                      </a:lnTo>
                      <a:lnTo>
                        <a:pt x="71" y="154"/>
                      </a:lnTo>
                      <a:lnTo>
                        <a:pt x="70" y="162"/>
                      </a:lnTo>
                      <a:lnTo>
                        <a:pt x="68" y="162"/>
                      </a:lnTo>
                      <a:lnTo>
                        <a:pt x="70" y="167"/>
                      </a:lnTo>
                      <a:lnTo>
                        <a:pt x="74" y="168"/>
                      </a:lnTo>
                      <a:lnTo>
                        <a:pt x="59" y="187"/>
                      </a:lnTo>
                      <a:lnTo>
                        <a:pt x="66" y="198"/>
                      </a:lnTo>
                      <a:lnTo>
                        <a:pt x="60" y="201"/>
                      </a:lnTo>
                      <a:lnTo>
                        <a:pt x="54" y="197"/>
                      </a:lnTo>
                      <a:lnTo>
                        <a:pt x="49" y="221"/>
                      </a:lnTo>
                      <a:lnTo>
                        <a:pt x="56" y="219"/>
                      </a:lnTo>
                      <a:lnTo>
                        <a:pt x="74" y="227"/>
                      </a:lnTo>
                      <a:lnTo>
                        <a:pt x="75" y="231"/>
                      </a:lnTo>
                      <a:lnTo>
                        <a:pt x="71" y="232"/>
                      </a:lnTo>
                      <a:lnTo>
                        <a:pt x="75" y="236"/>
                      </a:lnTo>
                      <a:lnTo>
                        <a:pt x="74" y="247"/>
                      </a:lnTo>
                      <a:lnTo>
                        <a:pt x="78" y="247"/>
                      </a:lnTo>
                      <a:lnTo>
                        <a:pt x="82" y="252"/>
                      </a:lnTo>
                      <a:lnTo>
                        <a:pt x="97" y="256"/>
                      </a:lnTo>
                      <a:lnTo>
                        <a:pt x="108" y="255"/>
                      </a:lnTo>
                      <a:lnTo>
                        <a:pt x="113" y="259"/>
                      </a:lnTo>
                      <a:lnTo>
                        <a:pt x="116" y="266"/>
                      </a:lnTo>
                      <a:lnTo>
                        <a:pt x="105" y="267"/>
                      </a:lnTo>
                      <a:lnTo>
                        <a:pt x="103" y="269"/>
                      </a:lnTo>
                      <a:lnTo>
                        <a:pt x="104" y="276"/>
                      </a:lnTo>
                      <a:lnTo>
                        <a:pt x="112" y="289"/>
                      </a:lnTo>
                      <a:lnTo>
                        <a:pt x="109" y="293"/>
                      </a:lnTo>
                      <a:lnTo>
                        <a:pt x="111" y="302"/>
                      </a:lnTo>
                      <a:lnTo>
                        <a:pt x="114" y="305"/>
                      </a:lnTo>
                      <a:lnTo>
                        <a:pt x="117" y="304"/>
                      </a:lnTo>
                      <a:lnTo>
                        <a:pt x="117" y="282"/>
                      </a:lnTo>
                      <a:lnTo>
                        <a:pt x="128" y="276"/>
                      </a:lnTo>
                      <a:lnTo>
                        <a:pt x="142" y="279"/>
                      </a:lnTo>
                      <a:lnTo>
                        <a:pt x="162" y="275"/>
                      </a:lnTo>
                      <a:lnTo>
                        <a:pt x="218" y="302"/>
                      </a:lnTo>
                      <a:lnTo>
                        <a:pt x="229" y="313"/>
                      </a:lnTo>
                      <a:lnTo>
                        <a:pt x="233" y="314"/>
                      </a:lnTo>
                      <a:lnTo>
                        <a:pt x="244" y="308"/>
                      </a:lnTo>
                      <a:lnTo>
                        <a:pt x="256" y="293"/>
                      </a:lnTo>
                      <a:lnTo>
                        <a:pt x="263" y="273"/>
                      </a:lnTo>
                      <a:lnTo>
                        <a:pt x="264" y="293"/>
                      </a:lnTo>
                      <a:lnTo>
                        <a:pt x="268" y="300"/>
                      </a:lnTo>
                      <a:lnTo>
                        <a:pt x="267" y="312"/>
                      </a:lnTo>
                      <a:lnTo>
                        <a:pt x="273" y="316"/>
                      </a:lnTo>
                      <a:lnTo>
                        <a:pt x="284" y="337"/>
                      </a:lnTo>
                      <a:lnTo>
                        <a:pt x="279" y="340"/>
                      </a:lnTo>
                      <a:lnTo>
                        <a:pt x="272" y="356"/>
                      </a:lnTo>
                      <a:lnTo>
                        <a:pt x="273" y="361"/>
                      </a:lnTo>
                      <a:lnTo>
                        <a:pt x="271" y="361"/>
                      </a:lnTo>
                      <a:lnTo>
                        <a:pt x="270" y="352"/>
                      </a:lnTo>
                      <a:lnTo>
                        <a:pt x="263" y="349"/>
                      </a:lnTo>
                      <a:lnTo>
                        <a:pt x="254" y="353"/>
                      </a:lnTo>
                      <a:lnTo>
                        <a:pt x="250" y="360"/>
                      </a:lnTo>
                      <a:lnTo>
                        <a:pt x="252" y="363"/>
                      </a:lnTo>
                      <a:lnTo>
                        <a:pt x="249" y="370"/>
                      </a:lnTo>
                      <a:lnTo>
                        <a:pt x="241" y="369"/>
                      </a:lnTo>
                      <a:lnTo>
                        <a:pt x="238" y="372"/>
                      </a:lnTo>
                      <a:lnTo>
                        <a:pt x="242" y="375"/>
                      </a:lnTo>
                      <a:lnTo>
                        <a:pt x="253" y="373"/>
                      </a:lnTo>
                      <a:lnTo>
                        <a:pt x="253" y="365"/>
                      </a:lnTo>
                      <a:lnTo>
                        <a:pt x="258" y="358"/>
                      </a:lnTo>
                      <a:lnTo>
                        <a:pt x="265" y="362"/>
                      </a:lnTo>
                      <a:lnTo>
                        <a:pt x="276" y="361"/>
                      </a:lnTo>
                      <a:lnTo>
                        <a:pt x="281" y="364"/>
                      </a:lnTo>
                      <a:lnTo>
                        <a:pt x="283" y="362"/>
                      </a:lnTo>
                      <a:lnTo>
                        <a:pt x="281" y="360"/>
                      </a:lnTo>
                      <a:lnTo>
                        <a:pt x="288" y="356"/>
                      </a:lnTo>
                      <a:lnTo>
                        <a:pt x="288" y="371"/>
                      </a:lnTo>
                      <a:lnTo>
                        <a:pt x="294" y="382"/>
                      </a:lnTo>
                      <a:lnTo>
                        <a:pt x="310" y="389"/>
                      </a:lnTo>
                      <a:lnTo>
                        <a:pt x="315" y="389"/>
                      </a:lnTo>
                      <a:lnTo>
                        <a:pt x="355" y="378"/>
                      </a:lnTo>
                      <a:lnTo>
                        <a:pt x="359" y="374"/>
                      </a:lnTo>
                      <a:lnTo>
                        <a:pt x="363" y="356"/>
                      </a:lnTo>
                      <a:lnTo>
                        <a:pt x="360" y="334"/>
                      </a:lnTo>
                      <a:lnTo>
                        <a:pt x="357" y="323"/>
                      </a:lnTo>
                      <a:lnTo>
                        <a:pt x="365" y="311"/>
                      </a:lnTo>
                      <a:lnTo>
                        <a:pt x="371" y="308"/>
                      </a:lnTo>
                      <a:lnTo>
                        <a:pt x="373" y="302"/>
                      </a:lnTo>
                      <a:lnTo>
                        <a:pt x="367" y="289"/>
                      </a:lnTo>
                      <a:lnTo>
                        <a:pt x="353" y="280"/>
                      </a:lnTo>
                      <a:lnTo>
                        <a:pt x="338" y="265"/>
                      </a:lnTo>
                      <a:lnTo>
                        <a:pt x="333" y="247"/>
                      </a:lnTo>
                      <a:lnTo>
                        <a:pt x="324" y="243"/>
                      </a:lnTo>
                      <a:lnTo>
                        <a:pt x="327" y="227"/>
                      </a:lnTo>
                      <a:lnTo>
                        <a:pt x="334" y="225"/>
                      </a:lnTo>
                      <a:lnTo>
                        <a:pt x="342" y="229"/>
                      </a:lnTo>
                      <a:lnTo>
                        <a:pt x="353" y="229"/>
                      </a:lnTo>
                      <a:lnTo>
                        <a:pt x="371" y="213"/>
                      </a:lnTo>
                      <a:lnTo>
                        <a:pt x="380" y="198"/>
                      </a:lnTo>
                      <a:lnTo>
                        <a:pt x="385" y="178"/>
                      </a:lnTo>
                      <a:lnTo>
                        <a:pt x="401" y="157"/>
                      </a:lnTo>
                      <a:lnTo>
                        <a:pt x="406" y="156"/>
                      </a:lnTo>
                      <a:lnTo>
                        <a:pt x="414" y="164"/>
                      </a:lnTo>
                      <a:lnTo>
                        <a:pt x="419" y="164"/>
                      </a:lnTo>
                      <a:lnTo>
                        <a:pt x="424" y="158"/>
                      </a:lnTo>
                      <a:lnTo>
                        <a:pt x="433" y="160"/>
                      </a:lnTo>
                      <a:lnTo>
                        <a:pt x="433" y="153"/>
                      </a:lnTo>
                      <a:lnTo>
                        <a:pt x="440" y="149"/>
                      </a:lnTo>
                      <a:lnTo>
                        <a:pt x="446" y="159"/>
                      </a:lnTo>
                      <a:lnTo>
                        <a:pt x="454" y="158"/>
                      </a:lnTo>
                      <a:lnTo>
                        <a:pt x="461" y="152"/>
                      </a:lnTo>
                      <a:lnTo>
                        <a:pt x="459" y="144"/>
                      </a:lnTo>
                      <a:lnTo>
                        <a:pt x="452" y="141"/>
                      </a:lnTo>
                      <a:lnTo>
                        <a:pt x="445" y="143"/>
                      </a:lnTo>
                      <a:lnTo>
                        <a:pt x="442" y="134"/>
                      </a:lnTo>
                      <a:lnTo>
                        <a:pt x="437" y="146"/>
                      </a:lnTo>
                      <a:lnTo>
                        <a:pt x="430" y="139"/>
                      </a:lnTo>
                      <a:lnTo>
                        <a:pt x="423" y="144"/>
                      </a:lnTo>
                      <a:lnTo>
                        <a:pt x="409" y="146"/>
                      </a:lnTo>
                      <a:lnTo>
                        <a:pt x="408" y="144"/>
                      </a:lnTo>
                      <a:lnTo>
                        <a:pt x="425" y="107"/>
                      </a:lnTo>
                      <a:lnTo>
                        <a:pt x="435" y="96"/>
                      </a:lnTo>
                      <a:lnTo>
                        <a:pt x="430" y="86"/>
                      </a:lnTo>
                      <a:lnTo>
                        <a:pt x="437" y="87"/>
                      </a:lnTo>
                      <a:lnTo>
                        <a:pt x="441" y="85"/>
                      </a:lnTo>
                      <a:lnTo>
                        <a:pt x="458" y="74"/>
                      </a:lnTo>
                      <a:lnTo>
                        <a:pt x="465" y="61"/>
                      </a:lnTo>
                      <a:lnTo>
                        <a:pt x="487" y="47"/>
                      </a:lnTo>
                      <a:lnTo>
                        <a:pt x="511" y="59"/>
                      </a:lnTo>
                      <a:lnTo>
                        <a:pt x="519" y="63"/>
                      </a:lnTo>
                      <a:lnTo>
                        <a:pt x="525" y="65"/>
                      </a:lnTo>
                      <a:lnTo>
                        <a:pt x="529" y="64"/>
                      </a:lnTo>
                      <a:lnTo>
                        <a:pt x="529" y="59"/>
                      </a:lnTo>
                      <a:lnTo>
                        <a:pt x="525" y="57"/>
                      </a:lnTo>
                      <a:lnTo>
                        <a:pt x="526" y="53"/>
                      </a:lnTo>
                      <a:lnTo>
                        <a:pt x="521" y="48"/>
                      </a:lnTo>
                      <a:lnTo>
                        <a:pt x="531" y="47"/>
                      </a:lnTo>
                      <a:lnTo>
                        <a:pt x="538" y="49"/>
                      </a:lnTo>
                      <a:lnTo>
                        <a:pt x="545" y="46"/>
                      </a:lnTo>
                      <a:close/>
                      <a:moveTo>
                        <a:pt x="528" y="0"/>
                      </a:moveTo>
                      <a:lnTo>
                        <a:pt x="549" y="3"/>
                      </a:lnTo>
                      <a:lnTo>
                        <a:pt x="545" y="6"/>
                      </a:lnTo>
                      <a:lnTo>
                        <a:pt x="541" y="12"/>
                      </a:lnTo>
                      <a:lnTo>
                        <a:pt x="542" y="18"/>
                      </a:lnTo>
                      <a:lnTo>
                        <a:pt x="551" y="20"/>
                      </a:lnTo>
                      <a:lnTo>
                        <a:pt x="544" y="29"/>
                      </a:lnTo>
                      <a:lnTo>
                        <a:pt x="538" y="31"/>
                      </a:lnTo>
                      <a:lnTo>
                        <a:pt x="533" y="28"/>
                      </a:lnTo>
                      <a:lnTo>
                        <a:pt x="526" y="31"/>
                      </a:lnTo>
                      <a:lnTo>
                        <a:pt x="523" y="29"/>
                      </a:lnTo>
                      <a:lnTo>
                        <a:pt x="520" y="37"/>
                      </a:lnTo>
                      <a:lnTo>
                        <a:pt x="519" y="45"/>
                      </a:lnTo>
                      <a:lnTo>
                        <a:pt x="512" y="47"/>
                      </a:lnTo>
                      <a:lnTo>
                        <a:pt x="512" y="53"/>
                      </a:lnTo>
                      <a:lnTo>
                        <a:pt x="495" y="37"/>
                      </a:lnTo>
                      <a:lnTo>
                        <a:pt x="487" y="20"/>
                      </a:lnTo>
                      <a:lnTo>
                        <a:pt x="479" y="15"/>
                      </a:lnTo>
                      <a:lnTo>
                        <a:pt x="482" y="11"/>
                      </a:lnTo>
                      <a:lnTo>
                        <a:pt x="528" y="0"/>
                      </a:lnTo>
                      <a:close/>
                    </a:path>
                  </a:pathLst>
                </a:custGeom>
                <a:solidFill>
                  <a:srgbClr val="72849C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lIns="68571" tIns="34286" rIns="68571" bIns="34286" anchor="ctr"/>
                <a:lstStyle/>
                <a:p>
                  <a:pPr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0" name="North Denmark Region" descr="{&quot;Key&quot;:&quot;north denmark region&quot;,&quot;Name&quot;:&quot;North Denmark Region&quot;,&quot;Value&quot;:1.0,&quot;Formula&quot;:&quot;1&quot;,&quot;Text&quot;:&quot;1&quot;,&quot;OfficeApplication&quot;:1,&quot;HasValue&quot;:true}"/>
                <p:cNvSpPr>
                  <a:spLocks noEditPoints="1"/>
                </p:cNvSpPr>
                <p:nvPr/>
              </p:nvSpPr>
              <p:spPr bwMode="auto">
                <a:xfrm>
                  <a:off x="3478213" y="995363"/>
                  <a:ext cx="2665413" cy="1978025"/>
                </a:xfrm>
                <a:custGeom>
                  <a:avLst/>
                  <a:gdLst>
                    <a:gd name="T0" fmla="*/ 495 w 1679"/>
                    <a:gd name="T1" fmla="*/ 907 h 1246"/>
                    <a:gd name="T2" fmla="*/ 368 w 1679"/>
                    <a:gd name="T3" fmla="*/ 913 h 1246"/>
                    <a:gd name="T4" fmla="*/ 372 w 1679"/>
                    <a:gd name="T5" fmla="*/ 995 h 1246"/>
                    <a:gd name="T6" fmla="*/ 348 w 1679"/>
                    <a:gd name="T7" fmla="*/ 1034 h 1246"/>
                    <a:gd name="T8" fmla="*/ 273 w 1679"/>
                    <a:gd name="T9" fmla="*/ 1110 h 1246"/>
                    <a:gd name="T10" fmla="*/ 216 w 1679"/>
                    <a:gd name="T11" fmla="*/ 1077 h 1246"/>
                    <a:gd name="T12" fmla="*/ 189 w 1679"/>
                    <a:gd name="T13" fmla="*/ 1074 h 1246"/>
                    <a:gd name="T14" fmla="*/ 188 w 1679"/>
                    <a:gd name="T15" fmla="*/ 1036 h 1246"/>
                    <a:gd name="T16" fmla="*/ 250 w 1679"/>
                    <a:gd name="T17" fmla="*/ 973 h 1246"/>
                    <a:gd name="T18" fmla="*/ 235 w 1679"/>
                    <a:gd name="T19" fmla="*/ 903 h 1246"/>
                    <a:gd name="T20" fmla="*/ 361 w 1679"/>
                    <a:gd name="T21" fmla="*/ 829 h 1246"/>
                    <a:gd name="T22" fmla="*/ 900 w 1679"/>
                    <a:gd name="T23" fmla="*/ 720 h 1246"/>
                    <a:gd name="T24" fmla="*/ 1056 w 1679"/>
                    <a:gd name="T25" fmla="*/ 747 h 1246"/>
                    <a:gd name="T26" fmla="*/ 1150 w 1679"/>
                    <a:gd name="T27" fmla="*/ 894 h 1246"/>
                    <a:gd name="T28" fmla="*/ 1118 w 1679"/>
                    <a:gd name="T29" fmla="*/ 1080 h 1246"/>
                    <a:gd name="T30" fmla="*/ 1045 w 1679"/>
                    <a:gd name="T31" fmla="*/ 1099 h 1246"/>
                    <a:gd name="T32" fmla="*/ 974 w 1679"/>
                    <a:gd name="T33" fmla="*/ 1133 h 1246"/>
                    <a:gd name="T34" fmla="*/ 900 w 1679"/>
                    <a:gd name="T35" fmla="*/ 1153 h 1246"/>
                    <a:gd name="T36" fmla="*/ 996 w 1679"/>
                    <a:gd name="T37" fmla="*/ 1136 h 1246"/>
                    <a:gd name="T38" fmla="*/ 1066 w 1679"/>
                    <a:gd name="T39" fmla="*/ 1096 h 1246"/>
                    <a:gd name="T40" fmla="*/ 1073 w 1679"/>
                    <a:gd name="T41" fmla="*/ 1147 h 1246"/>
                    <a:gd name="T42" fmla="*/ 909 w 1679"/>
                    <a:gd name="T43" fmla="*/ 1246 h 1246"/>
                    <a:gd name="T44" fmla="*/ 760 w 1679"/>
                    <a:gd name="T45" fmla="*/ 1145 h 1246"/>
                    <a:gd name="T46" fmla="*/ 718 w 1679"/>
                    <a:gd name="T47" fmla="*/ 1117 h 1246"/>
                    <a:gd name="T48" fmla="*/ 599 w 1679"/>
                    <a:gd name="T49" fmla="*/ 1094 h 1246"/>
                    <a:gd name="T50" fmla="*/ 548 w 1679"/>
                    <a:gd name="T51" fmla="*/ 1091 h 1246"/>
                    <a:gd name="T52" fmla="*/ 535 w 1679"/>
                    <a:gd name="T53" fmla="*/ 983 h 1246"/>
                    <a:gd name="T54" fmla="*/ 576 w 1679"/>
                    <a:gd name="T55" fmla="*/ 818 h 1246"/>
                    <a:gd name="T56" fmla="*/ 761 w 1679"/>
                    <a:gd name="T57" fmla="*/ 806 h 1246"/>
                    <a:gd name="T58" fmla="*/ 764 w 1679"/>
                    <a:gd name="T59" fmla="*/ 827 h 1246"/>
                    <a:gd name="T60" fmla="*/ 879 w 1679"/>
                    <a:gd name="T61" fmla="*/ 730 h 1246"/>
                    <a:gd name="T62" fmla="*/ 1562 w 1679"/>
                    <a:gd name="T63" fmla="*/ 573 h 1246"/>
                    <a:gd name="T64" fmla="*/ 1569 w 1679"/>
                    <a:gd name="T65" fmla="*/ 565 h 1246"/>
                    <a:gd name="T66" fmla="*/ 1511 w 1679"/>
                    <a:gd name="T67" fmla="*/ 538 h 1246"/>
                    <a:gd name="T68" fmla="*/ 1671 w 1679"/>
                    <a:gd name="T69" fmla="*/ 463 h 1246"/>
                    <a:gd name="T70" fmla="*/ 1604 w 1679"/>
                    <a:gd name="T71" fmla="*/ 533 h 1246"/>
                    <a:gd name="T72" fmla="*/ 1538 w 1679"/>
                    <a:gd name="T73" fmla="*/ 535 h 1246"/>
                    <a:gd name="T74" fmla="*/ 1565 w 1679"/>
                    <a:gd name="T75" fmla="*/ 468 h 1246"/>
                    <a:gd name="T76" fmla="*/ 1339 w 1679"/>
                    <a:gd name="T77" fmla="*/ 37 h 1246"/>
                    <a:gd name="T78" fmla="*/ 1287 w 1679"/>
                    <a:gd name="T79" fmla="*/ 270 h 1246"/>
                    <a:gd name="T80" fmla="*/ 1309 w 1679"/>
                    <a:gd name="T81" fmla="*/ 328 h 1246"/>
                    <a:gd name="T82" fmla="*/ 1304 w 1679"/>
                    <a:gd name="T83" fmla="*/ 440 h 1246"/>
                    <a:gd name="T84" fmla="*/ 1239 w 1679"/>
                    <a:gd name="T85" fmla="*/ 636 h 1246"/>
                    <a:gd name="T86" fmla="*/ 1099 w 1679"/>
                    <a:gd name="T87" fmla="*/ 768 h 1246"/>
                    <a:gd name="T88" fmla="*/ 950 w 1679"/>
                    <a:gd name="T89" fmla="*/ 719 h 1246"/>
                    <a:gd name="T90" fmla="*/ 867 w 1679"/>
                    <a:gd name="T91" fmla="*/ 709 h 1246"/>
                    <a:gd name="T92" fmla="*/ 784 w 1679"/>
                    <a:gd name="T93" fmla="*/ 706 h 1246"/>
                    <a:gd name="T94" fmla="*/ 697 w 1679"/>
                    <a:gd name="T95" fmla="*/ 744 h 1246"/>
                    <a:gd name="T96" fmla="*/ 558 w 1679"/>
                    <a:gd name="T97" fmla="*/ 785 h 1246"/>
                    <a:gd name="T98" fmla="*/ 408 w 1679"/>
                    <a:gd name="T99" fmla="*/ 778 h 1246"/>
                    <a:gd name="T100" fmla="*/ 343 w 1679"/>
                    <a:gd name="T101" fmla="*/ 798 h 1246"/>
                    <a:gd name="T102" fmla="*/ 274 w 1679"/>
                    <a:gd name="T103" fmla="*/ 833 h 1246"/>
                    <a:gd name="T104" fmla="*/ 233 w 1679"/>
                    <a:gd name="T105" fmla="*/ 923 h 1246"/>
                    <a:gd name="T106" fmla="*/ 152 w 1679"/>
                    <a:gd name="T107" fmla="*/ 1044 h 1246"/>
                    <a:gd name="T108" fmla="*/ 153 w 1679"/>
                    <a:gd name="T109" fmla="*/ 1109 h 1246"/>
                    <a:gd name="T110" fmla="*/ 104 w 1679"/>
                    <a:gd name="T111" fmla="*/ 1123 h 1246"/>
                    <a:gd name="T112" fmla="*/ 15 w 1679"/>
                    <a:gd name="T113" fmla="*/ 1094 h 1246"/>
                    <a:gd name="T114" fmla="*/ 129 w 1679"/>
                    <a:gd name="T115" fmla="*/ 766 h 1246"/>
                    <a:gd name="T116" fmla="*/ 229 w 1679"/>
                    <a:gd name="T117" fmla="*/ 656 h 1246"/>
                    <a:gd name="T118" fmla="*/ 523 w 1679"/>
                    <a:gd name="T119" fmla="*/ 641 h 1246"/>
                    <a:gd name="T120" fmla="*/ 888 w 1679"/>
                    <a:gd name="T121" fmla="*/ 289 h 1246"/>
                    <a:gd name="T122" fmla="*/ 1052 w 1679"/>
                    <a:gd name="T123" fmla="*/ 172 h 1246"/>
                    <a:gd name="T124" fmla="*/ 1343 w 1679"/>
                    <a:gd name="T125" fmla="*/ 33 h 12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79" h="1246">
                      <a:moveTo>
                        <a:pt x="184" y="1096"/>
                      </a:moveTo>
                      <a:lnTo>
                        <a:pt x="174" y="1094"/>
                      </a:lnTo>
                      <a:lnTo>
                        <a:pt x="175" y="1089"/>
                      </a:lnTo>
                      <a:lnTo>
                        <a:pt x="182" y="1088"/>
                      </a:lnTo>
                      <a:lnTo>
                        <a:pt x="184" y="1096"/>
                      </a:lnTo>
                      <a:close/>
                      <a:moveTo>
                        <a:pt x="492" y="905"/>
                      </a:moveTo>
                      <a:lnTo>
                        <a:pt x="484" y="902"/>
                      </a:lnTo>
                      <a:lnTo>
                        <a:pt x="479" y="894"/>
                      </a:lnTo>
                      <a:lnTo>
                        <a:pt x="486" y="882"/>
                      </a:lnTo>
                      <a:lnTo>
                        <a:pt x="489" y="881"/>
                      </a:lnTo>
                      <a:lnTo>
                        <a:pt x="497" y="898"/>
                      </a:lnTo>
                      <a:lnTo>
                        <a:pt x="495" y="907"/>
                      </a:lnTo>
                      <a:lnTo>
                        <a:pt x="492" y="905"/>
                      </a:lnTo>
                      <a:close/>
                      <a:moveTo>
                        <a:pt x="389" y="829"/>
                      </a:moveTo>
                      <a:lnTo>
                        <a:pt x="388" y="840"/>
                      </a:lnTo>
                      <a:lnTo>
                        <a:pt x="396" y="868"/>
                      </a:lnTo>
                      <a:lnTo>
                        <a:pt x="388" y="878"/>
                      </a:lnTo>
                      <a:lnTo>
                        <a:pt x="379" y="922"/>
                      </a:lnTo>
                      <a:lnTo>
                        <a:pt x="375" y="927"/>
                      </a:lnTo>
                      <a:lnTo>
                        <a:pt x="377" y="920"/>
                      </a:lnTo>
                      <a:lnTo>
                        <a:pt x="376" y="906"/>
                      </a:lnTo>
                      <a:lnTo>
                        <a:pt x="372" y="905"/>
                      </a:lnTo>
                      <a:lnTo>
                        <a:pt x="367" y="908"/>
                      </a:lnTo>
                      <a:lnTo>
                        <a:pt x="368" y="913"/>
                      </a:lnTo>
                      <a:lnTo>
                        <a:pt x="362" y="907"/>
                      </a:lnTo>
                      <a:lnTo>
                        <a:pt x="364" y="903"/>
                      </a:lnTo>
                      <a:lnTo>
                        <a:pt x="361" y="901"/>
                      </a:lnTo>
                      <a:lnTo>
                        <a:pt x="351" y="902"/>
                      </a:lnTo>
                      <a:lnTo>
                        <a:pt x="350" y="907"/>
                      </a:lnTo>
                      <a:lnTo>
                        <a:pt x="343" y="918"/>
                      </a:lnTo>
                      <a:lnTo>
                        <a:pt x="342" y="923"/>
                      </a:lnTo>
                      <a:lnTo>
                        <a:pt x="348" y="935"/>
                      </a:lnTo>
                      <a:lnTo>
                        <a:pt x="351" y="956"/>
                      </a:lnTo>
                      <a:lnTo>
                        <a:pt x="357" y="970"/>
                      </a:lnTo>
                      <a:lnTo>
                        <a:pt x="369" y="983"/>
                      </a:lnTo>
                      <a:lnTo>
                        <a:pt x="372" y="995"/>
                      </a:lnTo>
                      <a:lnTo>
                        <a:pt x="371" y="1005"/>
                      </a:lnTo>
                      <a:lnTo>
                        <a:pt x="368" y="995"/>
                      </a:lnTo>
                      <a:lnTo>
                        <a:pt x="364" y="994"/>
                      </a:lnTo>
                      <a:lnTo>
                        <a:pt x="362" y="998"/>
                      </a:lnTo>
                      <a:lnTo>
                        <a:pt x="359" y="997"/>
                      </a:lnTo>
                      <a:lnTo>
                        <a:pt x="358" y="1002"/>
                      </a:lnTo>
                      <a:lnTo>
                        <a:pt x="364" y="1009"/>
                      </a:lnTo>
                      <a:lnTo>
                        <a:pt x="351" y="1016"/>
                      </a:lnTo>
                      <a:lnTo>
                        <a:pt x="349" y="1021"/>
                      </a:lnTo>
                      <a:lnTo>
                        <a:pt x="347" y="1029"/>
                      </a:lnTo>
                      <a:lnTo>
                        <a:pt x="349" y="1030"/>
                      </a:lnTo>
                      <a:lnTo>
                        <a:pt x="348" y="1034"/>
                      </a:lnTo>
                      <a:lnTo>
                        <a:pt x="350" y="1041"/>
                      </a:lnTo>
                      <a:lnTo>
                        <a:pt x="346" y="1041"/>
                      </a:lnTo>
                      <a:lnTo>
                        <a:pt x="344" y="1044"/>
                      </a:lnTo>
                      <a:lnTo>
                        <a:pt x="344" y="1052"/>
                      </a:lnTo>
                      <a:lnTo>
                        <a:pt x="336" y="1057"/>
                      </a:lnTo>
                      <a:lnTo>
                        <a:pt x="333" y="1063"/>
                      </a:lnTo>
                      <a:lnTo>
                        <a:pt x="327" y="1065"/>
                      </a:lnTo>
                      <a:lnTo>
                        <a:pt x="309" y="1088"/>
                      </a:lnTo>
                      <a:lnTo>
                        <a:pt x="314" y="1098"/>
                      </a:lnTo>
                      <a:lnTo>
                        <a:pt x="288" y="1110"/>
                      </a:lnTo>
                      <a:lnTo>
                        <a:pt x="287" y="1113"/>
                      </a:lnTo>
                      <a:lnTo>
                        <a:pt x="273" y="1110"/>
                      </a:lnTo>
                      <a:lnTo>
                        <a:pt x="239" y="1125"/>
                      </a:lnTo>
                      <a:lnTo>
                        <a:pt x="238" y="1120"/>
                      </a:lnTo>
                      <a:lnTo>
                        <a:pt x="234" y="1113"/>
                      </a:lnTo>
                      <a:lnTo>
                        <a:pt x="231" y="1109"/>
                      </a:lnTo>
                      <a:lnTo>
                        <a:pt x="234" y="1100"/>
                      </a:lnTo>
                      <a:lnTo>
                        <a:pt x="221" y="1086"/>
                      </a:lnTo>
                      <a:lnTo>
                        <a:pt x="222" y="1077"/>
                      </a:lnTo>
                      <a:lnTo>
                        <a:pt x="229" y="1075"/>
                      </a:lnTo>
                      <a:lnTo>
                        <a:pt x="229" y="1072"/>
                      </a:lnTo>
                      <a:lnTo>
                        <a:pt x="227" y="1071"/>
                      </a:lnTo>
                      <a:lnTo>
                        <a:pt x="219" y="1074"/>
                      </a:lnTo>
                      <a:lnTo>
                        <a:pt x="216" y="1077"/>
                      </a:lnTo>
                      <a:lnTo>
                        <a:pt x="211" y="1075"/>
                      </a:lnTo>
                      <a:lnTo>
                        <a:pt x="213" y="1069"/>
                      </a:lnTo>
                      <a:lnTo>
                        <a:pt x="210" y="1061"/>
                      </a:lnTo>
                      <a:lnTo>
                        <a:pt x="202" y="1061"/>
                      </a:lnTo>
                      <a:lnTo>
                        <a:pt x="201" y="1065"/>
                      </a:lnTo>
                      <a:lnTo>
                        <a:pt x="202" y="1069"/>
                      </a:lnTo>
                      <a:lnTo>
                        <a:pt x="209" y="1070"/>
                      </a:lnTo>
                      <a:lnTo>
                        <a:pt x="204" y="1075"/>
                      </a:lnTo>
                      <a:lnTo>
                        <a:pt x="209" y="1084"/>
                      </a:lnTo>
                      <a:lnTo>
                        <a:pt x="194" y="1090"/>
                      </a:lnTo>
                      <a:lnTo>
                        <a:pt x="193" y="1085"/>
                      </a:lnTo>
                      <a:lnTo>
                        <a:pt x="189" y="1074"/>
                      </a:lnTo>
                      <a:lnTo>
                        <a:pt x="189" y="1071"/>
                      </a:lnTo>
                      <a:lnTo>
                        <a:pt x="201" y="1069"/>
                      </a:lnTo>
                      <a:lnTo>
                        <a:pt x="198" y="1064"/>
                      </a:lnTo>
                      <a:lnTo>
                        <a:pt x="181" y="1051"/>
                      </a:lnTo>
                      <a:lnTo>
                        <a:pt x="166" y="1067"/>
                      </a:lnTo>
                      <a:lnTo>
                        <a:pt x="160" y="1070"/>
                      </a:lnTo>
                      <a:lnTo>
                        <a:pt x="162" y="1061"/>
                      </a:lnTo>
                      <a:lnTo>
                        <a:pt x="160" y="1053"/>
                      </a:lnTo>
                      <a:lnTo>
                        <a:pt x="164" y="1044"/>
                      </a:lnTo>
                      <a:lnTo>
                        <a:pt x="172" y="1043"/>
                      </a:lnTo>
                      <a:lnTo>
                        <a:pt x="183" y="1034"/>
                      </a:lnTo>
                      <a:lnTo>
                        <a:pt x="188" y="1036"/>
                      </a:lnTo>
                      <a:lnTo>
                        <a:pt x="191" y="1033"/>
                      </a:lnTo>
                      <a:lnTo>
                        <a:pt x="185" y="1008"/>
                      </a:lnTo>
                      <a:lnTo>
                        <a:pt x="181" y="1004"/>
                      </a:lnTo>
                      <a:lnTo>
                        <a:pt x="188" y="999"/>
                      </a:lnTo>
                      <a:lnTo>
                        <a:pt x="190" y="1005"/>
                      </a:lnTo>
                      <a:lnTo>
                        <a:pt x="194" y="1005"/>
                      </a:lnTo>
                      <a:lnTo>
                        <a:pt x="200" y="995"/>
                      </a:lnTo>
                      <a:lnTo>
                        <a:pt x="207" y="994"/>
                      </a:lnTo>
                      <a:lnTo>
                        <a:pt x="226" y="998"/>
                      </a:lnTo>
                      <a:lnTo>
                        <a:pt x="251" y="984"/>
                      </a:lnTo>
                      <a:lnTo>
                        <a:pt x="252" y="975"/>
                      </a:lnTo>
                      <a:lnTo>
                        <a:pt x="250" y="973"/>
                      </a:lnTo>
                      <a:lnTo>
                        <a:pt x="220" y="968"/>
                      </a:lnTo>
                      <a:lnTo>
                        <a:pt x="220" y="964"/>
                      </a:lnTo>
                      <a:lnTo>
                        <a:pt x="226" y="956"/>
                      </a:lnTo>
                      <a:lnTo>
                        <a:pt x="236" y="959"/>
                      </a:lnTo>
                      <a:lnTo>
                        <a:pt x="242" y="956"/>
                      </a:lnTo>
                      <a:lnTo>
                        <a:pt x="242" y="950"/>
                      </a:lnTo>
                      <a:lnTo>
                        <a:pt x="232" y="950"/>
                      </a:lnTo>
                      <a:lnTo>
                        <a:pt x="242" y="933"/>
                      </a:lnTo>
                      <a:lnTo>
                        <a:pt x="241" y="918"/>
                      </a:lnTo>
                      <a:lnTo>
                        <a:pt x="239" y="913"/>
                      </a:lnTo>
                      <a:lnTo>
                        <a:pt x="240" y="909"/>
                      </a:lnTo>
                      <a:lnTo>
                        <a:pt x="235" y="903"/>
                      </a:lnTo>
                      <a:lnTo>
                        <a:pt x="254" y="897"/>
                      </a:lnTo>
                      <a:lnTo>
                        <a:pt x="264" y="900"/>
                      </a:lnTo>
                      <a:lnTo>
                        <a:pt x="285" y="896"/>
                      </a:lnTo>
                      <a:lnTo>
                        <a:pt x="291" y="899"/>
                      </a:lnTo>
                      <a:lnTo>
                        <a:pt x="303" y="890"/>
                      </a:lnTo>
                      <a:lnTo>
                        <a:pt x="315" y="889"/>
                      </a:lnTo>
                      <a:lnTo>
                        <a:pt x="323" y="884"/>
                      </a:lnTo>
                      <a:lnTo>
                        <a:pt x="337" y="883"/>
                      </a:lnTo>
                      <a:lnTo>
                        <a:pt x="341" y="875"/>
                      </a:lnTo>
                      <a:lnTo>
                        <a:pt x="344" y="856"/>
                      </a:lnTo>
                      <a:lnTo>
                        <a:pt x="356" y="842"/>
                      </a:lnTo>
                      <a:lnTo>
                        <a:pt x="361" y="829"/>
                      </a:lnTo>
                      <a:lnTo>
                        <a:pt x="366" y="836"/>
                      </a:lnTo>
                      <a:lnTo>
                        <a:pt x="377" y="834"/>
                      </a:lnTo>
                      <a:lnTo>
                        <a:pt x="382" y="836"/>
                      </a:lnTo>
                      <a:lnTo>
                        <a:pt x="394" y="821"/>
                      </a:lnTo>
                      <a:lnTo>
                        <a:pt x="395" y="810"/>
                      </a:lnTo>
                      <a:lnTo>
                        <a:pt x="398" y="810"/>
                      </a:lnTo>
                      <a:lnTo>
                        <a:pt x="397" y="820"/>
                      </a:lnTo>
                      <a:lnTo>
                        <a:pt x="389" y="829"/>
                      </a:lnTo>
                      <a:close/>
                      <a:moveTo>
                        <a:pt x="923" y="727"/>
                      </a:moveTo>
                      <a:lnTo>
                        <a:pt x="915" y="729"/>
                      </a:lnTo>
                      <a:lnTo>
                        <a:pt x="904" y="724"/>
                      </a:lnTo>
                      <a:lnTo>
                        <a:pt x="900" y="720"/>
                      </a:lnTo>
                      <a:lnTo>
                        <a:pt x="898" y="709"/>
                      </a:lnTo>
                      <a:lnTo>
                        <a:pt x="914" y="706"/>
                      </a:lnTo>
                      <a:lnTo>
                        <a:pt x="923" y="708"/>
                      </a:lnTo>
                      <a:lnTo>
                        <a:pt x="926" y="714"/>
                      </a:lnTo>
                      <a:lnTo>
                        <a:pt x="933" y="718"/>
                      </a:lnTo>
                      <a:lnTo>
                        <a:pt x="933" y="721"/>
                      </a:lnTo>
                      <a:lnTo>
                        <a:pt x="923" y="727"/>
                      </a:lnTo>
                      <a:close/>
                      <a:moveTo>
                        <a:pt x="1017" y="705"/>
                      </a:moveTo>
                      <a:lnTo>
                        <a:pt x="1024" y="722"/>
                      </a:lnTo>
                      <a:lnTo>
                        <a:pt x="1040" y="734"/>
                      </a:lnTo>
                      <a:lnTo>
                        <a:pt x="1038" y="738"/>
                      </a:lnTo>
                      <a:lnTo>
                        <a:pt x="1056" y="747"/>
                      </a:lnTo>
                      <a:lnTo>
                        <a:pt x="1072" y="762"/>
                      </a:lnTo>
                      <a:lnTo>
                        <a:pt x="1080" y="775"/>
                      </a:lnTo>
                      <a:lnTo>
                        <a:pt x="1111" y="797"/>
                      </a:lnTo>
                      <a:lnTo>
                        <a:pt x="1133" y="805"/>
                      </a:lnTo>
                      <a:lnTo>
                        <a:pt x="1173" y="802"/>
                      </a:lnTo>
                      <a:lnTo>
                        <a:pt x="1172" y="819"/>
                      </a:lnTo>
                      <a:lnTo>
                        <a:pt x="1167" y="819"/>
                      </a:lnTo>
                      <a:lnTo>
                        <a:pt x="1162" y="826"/>
                      </a:lnTo>
                      <a:lnTo>
                        <a:pt x="1167" y="827"/>
                      </a:lnTo>
                      <a:lnTo>
                        <a:pt x="1168" y="831"/>
                      </a:lnTo>
                      <a:lnTo>
                        <a:pt x="1156" y="848"/>
                      </a:lnTo>
                      <a:lnTo>
                        <a:pt x="1150" y="894"/>
                      </a:lnTo>
                      <a:lnTo>
                        <a:pt x="1153" y="903"/>
                      </a:lnTo>
                      <a:lnTo>
                        <a:pt x="1156" y="961"/>
                      </a:lnTo>
                      <a:lnTo>
                        <a:pt x="1158" y="986"/>
                      </a:lnTo>
                      <a:lnTo>
                        <a:pt x="1171" y="1036"/>
                      </a:lnTo>
                      <a:lnTo>
                        <a:pt x="1191" y="1069"/>
                      </a:lnTo>
                      <a:lnTo>
                        <a:pt x="1190" y="1084"/>
                      </a:lnTo>
                      <a:lnTo>
                        <a:pt x="1186" y="1088"/>
                      </a:lnTo>
                      <a:lnTo>
                        <a:pt x="1172" y="1081"/>
                      </a:lnTo>
                      <a:lnTo>
                        <a:pt x="1145" y="1079"/>
                      </a:lnTo>
                      <a:lnTo>
                        <a:pt x="1131" y="1072"/>
                      </a:lnTo>
                      <a:lnTo>
                        <a:pt x="1127" y="1073"/>
                      </a:lnTo>
                      <a:lnTo>
                        <a:pt x="1118" y="1080"/>
                      </a:lnTo>
                      <a:lnTo>
                        <a:pt x="1116" y="1086"/>
                      </a:lnTo>
                      <a:lnTo>
                        <a:pt x="1107" y="1089"/>
                      </a:lnTo>
                      <a:lnTo>
                        <a:pt x="1096" y="1084"/>
                      </a:lnTo>
                      <a:lnTo>
                        <a:pt x="1093" y="1078"/>
                      </a:lnTo>
                      <a:lnTo>
                        <a:pt x="1094" y="1073"/>
                      </a:lnTo>
                      <a:lnTo>
                        <a:pt x="1089" y="1073"/>
                      </a:lnTo>
                      <a:lnTo>
                        <a:pt x="1084" y="1072"/>
                      </a:lnTo>
                      <a:lnTo>
                        <a:pt x="1062" y="1082"/>
                      </a:lnTo>
                      <a:lnTo>
                        <a:pt x="1060" y="1092"/>
                      </a:lnTo>
                      <a:lnTo>
                        <a:pt x="1050" y="1096"/>
                      </a:lnTo>
                      <a:lnTo>
                        <a:pt x="1050" y="1098"/>
                      </a:lnTo>
                      <a:lnTo>
                        <a:pt x="1045" y="1099"/>
                      </a:lnTo>
                      <a:lnTo>
                        <a:pt x="1043" y="1093"/>
                      </a:lnTo>
                      <a:lnTo>
                        <a:pt x="1037" y="1090"/>
                      </a:lnTo>
                      <a:lnTo>
                        <a:pt x="1027" y="1093"/>
                      </a:lnTo>
                      <a:lnTo>
                        <a:pt x="1025" y="1097"/>
                      </a:lnTo>
                      <a:lnTo>
                        <a:pt x="1017" y="1098"/>
                      </a:lnTo>
                      <a:lnTo>
                        <a:pt x="1011" y="1106"/>
                      </a:lnTo>
                      <a:lnTo>
                        <a:pt x="1012" y="1111"/>
                      </a:lnTo>
                      <a:lnTo>
                        <a:pt x="995" y="1114"/>
                      </a:lnTo>
                      <a:lnTo>
                        <a:pt x="982" y="1128"/>
                      </a:lnTo>
                      <a:lnTo>
                        <a:pt x="974" y="1127"/>
                      </a:lnTo>
                      <a:lnTo>
                        <a:pt x="978" y="1136"/>
                      </a:lnTo>
                      <a:lnTo>
                        <a:pt x="974" y="1133"/>
                      </a:lnTo>
                      <a:lnTo>
                        <a:pt x="967" y="1137"/>
                      </a:lnTo>
                      <a:lnTo>
                        <a:pt x="966" y="1140"/>
                      </a:lnTo>
                      <a:lnTo>
                        <a:pt x="963" y="1138"/>
                      </a:lnTo>
                      <a:lnTo>
                        <a:pt x="956" y="1142"/>
                      </a:lnTo>
                      <a:lnTo>
                        <a:pt x="945" y="1141"/>
                      </a:lnTo>
                      <a:lnTo>
                        <a:pt x="940" y="1144"/>
                      </a:lnTo>
                      <a:lnTo>
                        <a:pt x="920" y="1144"/>
                      </a:lnTo>
                      <a:lnTo>
                        <a:pt x="916" y="1148"/>
                      </a:lnTo>
                      <a:lnTo>
                        <a:pt x="903" y="1147"/>
                      </a:lnTo>
                      <a:lnTo>
                        <a:pt x="890" y="1155"/>
                      </a:lnTo>
                      <a:lnTo>
                        <a:pt x="895" y="1156"/>
                      </a:lnTo>
                      <a:lnTo>
                        <a:pt x="900" y="1153"/>
                      </a:lnTo>
                      <a:lnTo>
                        <a:pt x="917" y="1156"/>
                      </a:lnTo>
                      <a:lnTo>
                        <a:pt x="924" y="1149"/>
                      </a:lnTo>
                      <a:lnTo>
                        <a:pt x="938" y="1149"/>
                      </a:lnTo>
                      <a:lnTo>
                        <a:pt x="949" y="1146"/>
                      </a:lnTo>
                      <a:lnTo>
                        <a:pt x="951" y="1148"/>
                      </a:lnTo>
                      <a:lnTo>
                        <a:pt x="961" y="1148"/>
                      </a:lnTo>
                      <a:lnTo>
                        <a:pt x="969" y="1144"/>
                      </a:lnTo>
                      <a:lnTo>
                        <a:pt x="974" y="1146"/>
                      </a:lnTo>
                      <a:lnTo>
                        <a:pt x="980" y="1144"/>
                      </a:lnTo>
                      <a:lnTo>
                        <a:pt x="985" y="1138"/>
                      </a:lnTo>
                      <a:lnTo>
                        <a:pt x="994" y="1141"/>
                      </a:lnTo>
                      <a:lnTo>
                        <a:pt x="996" y="1136"/>
                      </a:lnTo>
                      <a:lnTo>
                        <a:pt x="994" y="1135"/>
                      </a:lnTo>
                      <a:lnTo>
                        <a:pt x="999" y="1128"/>
                      </a:lnTo>
                      <a:lnTo>
                        <a:pt x="1004" y="1128"/>
                      </a:lnTo>
                      <a:lnTo>
                        <a:pt x="1009" y="1122"/>
                      </a:lnTo>
                      <a:lnTo>
                        <a:pt x="1014" y="1124"/>
                      </a:lnTo>
                      <a:lnTo>
                        <a:pt x="1021" y="1121"/>
                      </a:lnTo>
                      <a:lnTo>
                        <a:pt x="1021" y="1114"/>
                      </a:lnTo>
                      <a:lnTo>
                        <a:pt x="1031" y="1102"/>
                      </a:lnTo>
                      <a:lnTo>
                        <a:pt x="1036" y="1101"/>
                      </a:lnTo>
                      <a:lnTo>
                        <a:pt x="1046" y="1110"/>
                      </a:lnTo>
                      <a:lnTo>
                        <a:pt x="1052" y="1109"/>
                      </a:lnTo>
                      <a:lnTo>
                        <a:pt x="1066" y="1096"/>
                      </a:lnTo>
                      <a:lnTo>
                        <a:pt x="1067" y="1084"/>
                      </a:lnTo>
                      <a:lnTo>
                        <a:pt x="1070" y="1079"/>
                      </a:lnTo>
                      <a:lnTo>
                        <a:pt x="1073" y="1083"/>
                      </a:lnTo>
                      <a:lnTo>
                        <a:pt x="1080" y="1082"/>
                      </a:lnTo>
                      <a:lnTo>
                        <a:pt x="1089" y="1088"/>
                      </a:lnTo>
                      <a:lnTo>
                        <a:pt x="1095" y="1086"/>
                      </a:lnTo>
                      <a:lnTo>
                        <a:pt x="1113" y="1108"/>
                      </a:lnTo>
                      <a:lnTo>
                        <a:pt x="1113" y="1108"/>
                      </a:lnTo>
                      <a:lnTo>
                        <a:pt x="1114" y="1114"/>
                      </a:lnTo>
                      <a:lnTo>
                        <a:pt x="1091" y="1129"/>
                      </a:lnTo>
                      <a:lnTo>
                        <a:pt x="1092" y="1142"/>
                      </a:lnTo>
                      <a:lnTo>
                        <a:pt x="1073" y="1147"/>
                      </a:lnTo>
                      <a:lnTo>
                        <a:pt x="1073" y="1157"/>
                      </a:lnTo>
                      <a:lnTo>
                        <a:pt x="1068" y="1170"/>
                      </a:lnTo>
                      <a:lnTo>
                        <a:pt x="1053" y="1175"/>
                      </a:lnTo>
                      <a:lnTo>
                        <a:pt x="1027" y="1193"/>
                      </a:lnTo>
                      <a:lnTo>
                        <a:pt x="992" y="1204"/>
                      </a:lnTo>
                      <a:lnTo>
                        <a:pt x="980" y="1198"/>
                      </a:lnTo>
                      <a:lnTo>
                        <a:pt x="974" y="1214"/>
                      </a:lnTo>
                      <a:lnTo>
                        <a:pt x="949" y="1221"/>
                      </a:lnTo>
                      <a:lnTo>
                        <a:pt x="941" y="1221"/>
                      </a:lnTo>
                      <a:lnTo>
                        <a:pt x="937" y="1225"/>
                      </a:lnTo>
                      <a:lnTo>
                        <a:pt x="935" y="1240"/>
                      </a:lnTo>
                      <a:lnTo>
                        <a:pt x="909" y="1246"/>
                      </a:lnTo>
                      <a:lnTo>
                        <a:pt x="888" y="1234"/>
                      </a:lnTo>
                      <a:lnTo>
                        <a:pt x="862" y="1241"/>
                      </a:lnTo>
                      <a:lnTo>
                        <a:pt x="842" y="1210"/>
                      </a:lnTo>
                      <a:lnTo>
                        <a:pt x="822" y="1205"/>
                      </a:lnTo>
                      <a:lnTo>
                        <a:pt x="802" y="1215"/>
                      </a:lnTo>
                      <a:lnTo>
                        <a:pt x="803" y="1186"/>
                      </a:lnTo>
                      <a:lnTo>
                        <a:pt x="821" y="1180"/>
                      </a:lnTo>
                      <a:lnTo>
                        <a:pt x="818" y="1165"/>
                      </a:lnTo>
                      <a:lnTo>
                        <a:pt x="792" y="1162"/>
                      </a:lnTo>
                      <a:lnTo>
                        <a:pt x="777" y="1165"/>
                      </a:lnTo>
                      <a:lnTo>
                        <a:pt x="757" y="1159"/>
                      </a:lnTo>
                      <a:lnTo>
                        <a:pt x="760" y="1145"/>
                      </a:lnTo>
                      <a:lnTo>
                        <a:pt x="739" y="1143"/>
                      </a:lnTo>
                      <a:lnTo>
                        <a:pt x="737" y="1137"/>
                      </a:lnTo>
                      <a:lnTo>
                        <a:pt x="745" y="1130"/>
                      </a:lnTo>
                      <a:lnTo>
                        <a:pt x="743" y="1126"/>
                      </a:lnTo>
                      <a:lnTo>
                        <a:pt x="741" y="1127"/>
                      </a:lnTo>
                      <a:lnTo>
                        <a:pt x="740" y="1122"/>
                      </a:lnTo>
                      <a:lnTo>
                        <a:pt x="737" y="1124"/>
                      </a:lnTo>
                      <a:lnTo>
                        <a:pt x="734" y="1122"/>
                      </a:lnTo>
                      <a:lnTo>
                        <a:pt x="738" y="1113"/>
                      </a:lnTo>
                      <a:lnTo>
                        <a:pt x="736" y="1112"/>
                      </a:lnTo>
                      <a:lnTo>
                        <a:pt x="719" y="1110"/>
                      </a:lnTo>
                      <a:lnTo>
                        <a:pt x="718" y="1117"/>
                      </a:lnTo>
                      <a:lnTo>
                        <a:pt x="709" y="1119"/>
                      </a:lnTo>
                      <a:lnTo>
                        <a:pt x="696" y="1157"/>
                      </a:lnTo>
                      <a:lnTo>
                        <a:pt x="682" y="1154"/>
                      </a:lnTo>
                      <a:lnTo>
                        <a:pt x="662" y="1140"/>
                      </a:lnTo>
                      <a:lnTo>
                        <a:pt x="663" y="1128"/>
                      </a:lnTo>
                      <a:lnTo>
                        <a:pt x="646" y="1131"/>
                      </a:lnTo>
                      <a:lnTo>
                        <a:pt x="639" y="1122"/>
                      </a:lnTo>
                      <a:lnTo>
                        <a:pt x="620" y="1121"/>
                      </a:lnTo>
                      <a:lnTo>
                        <a:pt x="620" y="1121"/>
                      </a:lnTo>
                      <a:lnTo>
                        <a:pt x="612" y="1100"/>
                      </a:lnTo>
                      <a:lnTo>
                        <a:pt x="605" y="1094"/>
                      </a:lnTo>
                      <a:lnTo>
                        <a:pt x="599" y="1094"/>
                      </a:lnTo>
                      <a:lnTo>
                        <a:pt x="589" y="1097"/>
                      </a:lnTo>
                      <a:lnTo>
                        <a:pt x="581" y="1103"/>
                      </a:lnTo>
                      <a:lnTo>
                        <a:pt x="572" y="1104"/>
                      </a:lnTo>
                      <a:lnTo>
                        <a:pt x="566" y="1111"/>
                      </a:lnTo>
                      <a:lnTo>
                        <a:pt x="552" y="1117"/>
                      </a:lnTo>
                      <a:lnTo>
                        <a:pt x="543" y="1128"/>
                      </a:lnTo>
                      <a:lnTo>
                        <a:pt x="539" y="1129"/>
                      </a:lnTo>
                      <a:lnTo>
                        <a:pt x="532" y="1121"/>
                      </a:lnTo>
                      <a:lnTo>
                        <a:pt x="530" y="1115"/>
                      </a:lnTo>
                      <a:lnTo>
                        <a:pt x="531" y="1110"/>
                      </a:lnTo>
                      <a:lnTo>
                        <a:pt x="539" y="1106"/>
                      </a:lnTo>
                      <a:lnTo>
                        <a:pt x="548" y="1091"/>
                      </a:lnTo>
                      <a:lnTo>
                        <a:pt x="551" y="1091"/>
                      </a:lnTo>
                      <a:lnTo>
                        <a:pt x="563" y="1078"/>
                      </a:lnTo>
                      <a:lnTo>
                        <a:pt x="573" y="1062"/>
                      </a:lnTo>
                      <a:lnTo>
                        <a:pt x="577" y="1046"/>
                      </a:lnTo>
                      <a:lnTo>
                        <a:pt x="575" y="1035"/>
                      </a:lnTo>
                      <a:lnTo>
                        <a:pt x="570" y="1030"/>
                      </a:lnTo>
                      <a:lnTo>
                        <a:pt x="552" y="1023"/>
                      </a:lnTo>
                      <a:lnTo>
                        <a:pt x="545" y="1026"/>
                      </a:lnTo>
                      <a:lnTo>
                        <a:pt x="544" y="1024"/>
                      </a:lnTo>
                      <a:lnTo>
                        <a:pt x="546" y="1004"/>
                      </a:lnTo>
                      <a:lnTo>
                        <a:pt x="538" y="985"/>
                      </a:lnTo>
                      <a:lnTo>
                        <a:pt x="535" y="983"/>
                      </a:lnTo>
                      <a:lnTo>
                        <a:pt x="547" y="968"/>
                      </a:lnTo>
                      <a:lnTo>
                        <a:pt x="557" y="947"/>
                      </a:lnTo>
                      <a:lnTo>
                        <a:pt x="559" y="926"/>
                      </a:lnTo>
                      <a:lnTo>
                        <a:pt x="553" y="914"/>
                      </a:lnTo>
                      <a:lnTo>
                        <a:pt x="535" y="902"/>
                      </a:lnTo>
                      <a:lnTo>
                        <a:pt x="534" y="895"/>
                      </a:lnTo>
                      <a:lnTo>
                        <a:pt x="541" y="869"/>
                      </a:lnTo>
                      <a:lnTo>
                        <a:pt x="551" y="857"/>
                      </a:lnTo>
                      <a:lnTo>
                        <a:pt x="552" y="850"/>
                      </a:lnTo>
                      <a:lnTo>
                        <a:pt x="561" y="846"/>
                      </a:lnTo>
                      <a:lnTo>
                        <a:pt x="569" y="836"/>
                      </a:lnTo>
                      <a:lnTo>
                        <a:pt x="576" y="818"/>
                      </a:lnTo>
                      <a:lnTo>
                        <a:pt x="597" y="812"/>
                      </a:lnTo>
                      <a:lnTo>
                        <a:pt x="600" y="807"/>
                      </a:lnTo>
                      <a:lnTo>
                        <a:pt x="603" y="792"/>
                      </a:lnTo>
                      <a:lnTo>
                        <a:pt x="607" y="786"/>
                      </a:lnTo>
                      <a:lnTo>
                        <a:pt x="610" y="787"/>
                      </a:lnTo>
                      <a:lnTo>
                        <a:pt x="639" y="776"/>
                      </a:lnTo>
                      <a:lnTo>
                        <a:pt x="681" y="766"/>
                      </a:lnTo>
                      <a:lnTo>
                        <a:pt x="716" y="767"/>
                      </a:lnTo>
                      <a:lnTo>
                        <a:pt x="728" y="770"/>
                      </a:lnTo>
                      <a:lnTo>
                        <a:pt x="759" y="787"/>
                      </a:lnTo>
                      <a:lnTo>
                        <a:pt x="769" y="797"/>
                      </a:lnTo>
                      <a:lnTo>
                        <a:pt x="761" y="806"/>
                      </a:lnTo>
                      <a:lnTo>
                        <a:pt x="759" y="814"/>
                      </a:lnTo>
                      <a:lnTo>
                        <a:pt x="763" y="825"/>
                      </a:lnTo>
                      <a:lnTo>
                        <a:pt x="759" y="831"/>
                      </a:lnTo>
                      <a:lnTo>
                        <a:pt x="753" y="820"/>
                      </a:lnTo>
                      <a:lnTo>
                        <a:pt x="750" y="819"/>
                      </a:lnTo>
                      <a:lnTo>
                        <a:pt x="743" y="829"/>
                      </a:lnTo>
                      <a:lnTo>
                        <a:pt x="751" y="850"/>
                      </a:lnTo>
                      <a:lnTo>
                        <a:pt x="755" y="853"/>
                      </a:lnTo>
                      <a:lnTo>
                        <a:pt x="760" y="861"/>
                      </a:lnTo>
                      <a:lnTo>
                        <a:pt x="762" y="860"/>
                      </a:lnTo>
                      <a:lnTo>
                        <a:pt x="766" y="837"/>
                      </a:lnTo>
                      <a:lnTo>
                        <a:pt x="764" y="827"/>
                      </a:lnTo>
                      <a:lnTo>
                        <a:pt x="775" y="820"/>
                      </a:lnTo>
                      <a:lnTo>
                        <a:pt x="782" y="820"/>
                      </a:lnTo>
                      <a:lnTo>
                        <a:pt x="789" y="815"/>
                      </a:lnTo>
                      <a:lnTo>
                        <a:pt x="795" y="797"/>
                      </a:lnTo>
                      <a:lnTo>
                        <a:pt x="801" y="796"/>
                      </a:lnTo>
                      <a:lnTo>
                        <a:pt x="819" y="773"/>
                      </a:lnTo>
                      <a:lnTo>
                        <a:pt x="818" y="759"/>
                      </a:lnTo>
                      <a:lnTo>
                        <a:pt x="820" y="753"/>
                      </a:lnTo>
                      <a:lnTo>
                        <a:pt x="823" y="748"/>
                      </a:lnTo>
                      <a:lnTo>
                        <a:pt x="834" y="742"/>
                      </a:lnTo>
                      <a:lnTo>
                        <a:pt x="859" y="737"/>
                      </a:lnTo>
                      <a:lnTo>
                        <a:pt x="879" y="730"/>
                      </a:lnTo>
                      <a:lnTo>
                        <a:pt x="915" y="740"/>
                      </a:lnTo>
                      <a:lnTo>
                        <a:pt x="929" y="728"/>
                      </a:lnTo>
                      <a:lnTo>
                        <a:pt x="936" y="726"/>
                      </a:lnTo>
                      <a:lnTo>
                        <a:pt x="944" y="725"/>
                      </a:lnTo>
                      <a:lnTo>
                        <a:pt x="952" y="725"/>
                      </a:lnTo>
                      <a:lnTo>
                        <a:pt x="964" y="734"/>
                      </a:lnTo>
                      <a:lnTo>
                        <a:pt x="972" y="733"/>
                      </a:lnTo>
                      <a:lnTo>
                        <a:pt x="980" y="730"/>
                      </a:lnTo>
                      <a:lnTo>
                        <a:pt x="990" y="713"/>
                      </a:lnTo>
                      <a:lnTo>
                        <a:pt x="1003" y="703"/>
                      </a:lnTo>
                      <a:lnTo>
                        <a:pt x="1017" y="705"/>
                      </a:lnTo>
                      <a:close/>
                      <a:moveTo>
                        <a:pt x="1562" y="573"/>
                      </a:moveTo>
                      <a:lnTo>
                        <a:pt x="1559" y="573"/>
                      </a:lnTo>
                      <a:lnTo>
                        <a:pt x="1559" y="569"/>
                      </a:lnTo>
                      <a:lnTo>
                        <a:pt x="1566" y="566"/>
                      </a:lnTo>
                      <a:lnTo>
                        <a:pt x="1562" y="573"/>
                      </a:lnTo>
                      <a:close/>
                      <a:moveTo>
                        <a:pt x="1586" y="564"/>
                      </a:moveTo>
                      <a:lnTo>
                        <a:pt x="1588" y="567"/>
                      </a:lnTo>
                      <a:lnTo>
                        <a:pt x="1586" y="572"/>
                      </a:lnTo>
                      <a:lnTo>
                        <a:pt x="1569" y="575"/>
                      </a:lnTo>
                      <a:lnTo>
                        <a:pt x="1564" y="577"/>
                      </a:lnTo>
                      <a:lnTo>
                        <a:pt x="1562" y="575"/>
                      </a:lnTo>
                      <a:lnTo>
                        <a:pt x="1563" y="569"/>
                      </a:lnTo>
                      <a:lnTo>
                        <a:pt x="1569" y="565"/>
                      </a:lnTo>
                      <a:lnTo>
                        <a:pt x="1582" y="562"/>
                      </a:lnTo>
                      <a:lnTo>
                        <a:pt x="1586" y="564"/>
                      </a:lnTo>
                      <a:close/>
                      <a:moveTo>
                        <a:pt x="1520" y="534"/>
                      </a:moveTo>
                      <a:lnTo>
                        <a:pt x="1509" y="535"/>
                      </a:lnTo>
                      <a:lnTo>
                        <a:pt x="1505" y="529"/>
                      </a:lnTo>
                      <a:lnTo>
                        <a:pt x="1507" y="528"/>
                      </a:lnTo>
                      <a:lnTo>
                        <a:pt x="1520" y="534"/>
                      </a:lnTo>
                      <a:close/>
                      <a:moveTo>
                        <a:pt x="1488" y="513"/>
                      </a:moveTo>
                      <a:lnTo>
                        <a:pt x="1490" y="516"/>
                      </a:lnTo>
                      <a:lnTo>
                        <a:pt x="1492" y="516"/>
                      </a:lnTo>
                      <a:lnTo>
                        <a:pt x="1493" y="517"/>
                      </a:lnTo>
                      <a:lnTo>
                        <a:pt x="1511" y="538"/>
                      </a:lnTo>
                      <a:lnTo>
                        <a:pt x="1506" y="538"/>
                      </a:lnTo>
                      <a:lnTo>
                        <a:pt x="1487" y="515"/>
                      </a:lnTo>
                      <a:lnTo>
                        <a:pt x="1486" y="510"/>
                      </a:lnTo>
                      <a:lnTo>
                        <a:pt x="1491" y="511"/>
                      </a:lnTo>
                      <a:lnTo>
                        <a:pt x="1488" y="513"/>
                      </a:lnTo>
                      <a:close/>
                      <a:moveTo>
                        <a:pt x="1679" y="452"/>
                      </a:moveTo>
                      <a:lnTo>
                        <a:pt x="1675" y="489"/>
                      </a:lnTo>
                      <a:lnTo>
                        <a:pt x="1673" y="488"/>
                      </a:lnTo>
                      <a:lnTo>
                        <a:pt x="1675" y="479"/>
                      </a:lnTo>
                      <a:lnTo>
                        <a:pt x="1674" y="474"/>
                      </a:lnTo>
                      <a:lnTo>
                        <a:pt x="1669" y="471"/>
                      </a:lnTo>
                      <a:lnTo>
                        <a:pt x="1671" y="463"/>
                      </a:lnTo>
                      <a:lnTo>
                        <a:pt x="1663" y="471"/>
                      </a:lnTo>
                      <a:lnTo>
                        <a:pt x="1662" y="474"/>
                      </a:lnTo>
                      <a:lnTo>
                        <a:pt x="1650" y="472"/>
                      </a:lnTo>
                      <a:lnTo>
                        <a:pt x="1637" y="475"/>
                      </a:lnTo>
                      <a:lnTo>
                        <a:pt x="1632" y="474"/>
                      </a:lnTo>
                      <a:lnTo>
                        <a:pt x="1610" y="486"/>
                      </a:lnTo>
                      <a:lnTo>
                        <a:pt x="1607" y="491"/>
                      </a:lnTo>
                      <a:lnTo>
                        <a:pt x="1609" y="494"/>
                      </a:lnTo>
                      <a:lnTo>
                        <a:pt x="1619" y="495"/>
                      </a:lnTo>
                      <a:lnTo>
                        <a:pt x="1618" y="512"/>
                      </a:lnTo>
                      <a:lnTo>
                        <a:pt x="1614" y="521"/>
                      </a:lnTo>
                      <a:lnTo>
                        <a:pt x="1604" y="533"/>
                      </a:lnTo>
                      <a:lnTo>
                        <a:pt x="1579" y="531"/>
                      </a:lnTo>
                      <a:lnTo>
                        <a:pt x="1574" y="533"/>
                      </a:lnTo>
                      <a:lnTo>
                        <a:pt x="1604" y="535"/>
                      </a:lnTo>
                      <a:lnTo>
                        <a:pt x="1600" y="541"/>
                      </a:lnTo>
                      <a:lnTo>
                        <a:pt x="1570" y="559"/>
                      </a:lnTo>
                      <a:lnTo>
                        <a:pt x="1560" y="557"/>
                      </a:lnTo>
                      <a:lnTo>
                        <a:pt x="1553" y="560"/>
                      </a:lnTo>
                      <a:lnTo>
                        <a:pt x="1549" y="547"/>
                      </a:lnTo>
                      <a:lnTo>
                        <a:pt x="1547" y="546"/>
                      </a:lnTo>
                      <a:lnTo>
                        <a:pt x="1548" y="543"/>
                      </a:lnTo>
                      <a:lnTo>
                        <a:pt x="1537" y="539"/>
                      </a:lnTo>
                      <a:lnTo>
                        <a:pt x="1538" y="535"/>
                      </a:lnTo>
                      <a:lnTo>
                        <a:pt x="1534" y="530"/>
                      </a:lnTo>
                      <a:lnTo>
                        <a:pt x="1524" y="528"/>
                      </a:lnTo>
                      <a:lnTo>
                        <a:pt x="1517" y="531"/>
                      </a:lnTo>
                      <a:lnTo>
                        <a:pt x="1498" y="522"/>
                      </a:lnTo>
                      <a:lnTo>
                        <a:pt x="1494" y="517"/>
                      </a:lnTo>
                      <a:lnTo>
                        <a:pt x="1494" y="510"/>
                      </a:lnTo>
                      <a:lnTo>
                        <a:pt x="1514" y="495"/>
                      </a:lnTo>
                      <a:lnTo>
                        <a:pt x="1523" y="479"/>
                      </a:lnTo>
                      <a:lnTo>
                        <a:pt x="1537" y="470"/>
                      </a:lnTo>
                      <a:lnTo>
                        <a:pt x="1547" y="470"/>
                      </a:lnTo>
                      <a:lnTo>
                        <a:pt x="1552" y="466"/>
                      </a:lnTo>
                      <a:lnTo>
                        <a:pt x="1565" y="468"/>
                      </a:lnTo>
                      <a:lnTo>
                        <a:pt x="1573" y="466"/>
                      </a:lnTo>
                      <a:lnTo>
                        <a:pt x="1579" y="456"/>
                      </a:lnTo>
                      <a:lnTo>
                        <a:pt x="1584" y="454"/>
                      </a:lnTo>
                      <a:lnTo>
                        <a:pt x="1601" y="455"/>
                      </a:lnTo>
                      <a:lnTo>
                        <a:pt x="1634" y="452"/>
                      </a:lnTo>
                      <a:lnTo>
                        <a:pt x="1640" y="451"/>
                      </a:lnTo>
                      <a:lnTo>
                        <a:pt x="1649" y="444"/>
                      </a:lnTo>
                      <a:lnTo>
                        <a:pt x="1662" y="448"/>
                      </a:lnTo>
                      <a:lnTo>
                        <a:pt x="1678" y="449"/>
                      </a:lnTo>
                      <a:lnTo>
                        <a:pt x="1679" y="452"/>
                      </a:lnTo>
                      <a:close/>
                      <a:moveTo>
                        <a:pt x="1343" y="33"/>
                      </a:moveTo>
                      <a:lnTo>
                        <a:pt x="1339" y="37"/>
                      </a:lnTo>
                      <a:lnTo>
                        <a:pt x="1334" y="35"/>
                      </a:lnTo>
                      <a:lnTo>
                        <a:pt x="1331" y="37"/>
                      </a:lnTo>
                      <a:lnTo>
                        <a:pt x="1333" y="39"/>
                      </a:lnTo>
                      <a:lnTo>
                        <a:pt x="1328" y="39"/>
                      </a:lnTo>
                      <a:lnTo>
                        <a:pt x="1313" y="51"/>
                      </a:lnTo>
                      <a:lnTo>
                        <a:pt x="1279" y="95"/>
                      </a:lnTo>
                      <a:lnTo>
                        <a:pt x="1253" y="140"/>
                      </a:lnTo>
                      <a:lnTo>
                        <a:pt x="1247" y="155"/>
                      </a:lnTo>
                      <a:lnTo>
                        <a:pt x="1242" y="182"/>
                      </a:lnTo>
                      <a:lnTo>
                        <a:pt x="1247" y="207"/>
                      </a:lnTo>
                      <a:lnTo>
                        <a:pt x="1255" y="228"/>
                      </a:lnTo>
                      <a:lnTo>
                        <a:pt x="1287" y="270"/>
                      </a:lnTo>
                      <a:lnTo>
                        <a:pt x="1287" y="276"/>
                      </a:lnTo>
                      <a:lnTo>
                        <a:pt x="1298" y="292"/>
                      </a:lnTo>
                      <a:lnTo>
                        <a:pt x="1304" y="296"/>
                      </a:lnTo>
                      <a:lnTo>
                        <a:pt x="1311" y="317"/>
                      </a:lnTo>
                      <a:lnTo>
                        <a:pt x="1313" y="318"/>
                      </a:lnTo>
                      <a:lnTo>
                        <a:pt x="1316" y="317"/>
                      </a:lnTo>
                      <a:lnTo>
                        <a:pt x="1319" y="320"/>
                      </a:lnTo>
                      <a:lnTo>
                        <a:pt x="1316" y="328"/>
                      </a:lnTo>
                      <a:lnTo>
                        <a:pt x="1312" y="323"/>
                      </a:lnTo>
                      <a:lnTo>
                        <a:pt x="1310" y="325"/>
                      </a:lnTo>
                      <a:lnTo>
                        <a:pt x="1314" y="331"/>
                      </a:lnTo>
                      <a:lnTo>
                        <a:pt x="1309" y="328"/>
                      </a:lnTo>
                      <a:lnTo>
                        <a:pt x="1306" y="332"/>
                      </a:lnTo>
                      <a:lnTo>
                        <a:pt x="1310" y="334"/>
                      </a:lnTo>
                      <a:lnTo>
                        <a:pt x="1305" y="334"/>
                      </a:lnTo>
                      <a:lnTo>
                        <a:pt x="1304" y="337"/>
                      </a:lnTo>
                      <a:lnTo>
                        <a:pt x="1301" y="337"/>
                      </a:lnTo>
                      <a:lnTo>
                        <a:pt x="1300" y="340"/>
                      </a:lnTo>
                      <a:lnTo>
                        <a:pt x="1301" y="351"/>
                      </a:lnTo>
                      <a:lnTo>
                        <a:pt x="1299" y="354"/>
                      </a:lnTo>
                      <a:lnTo>
                        <a:pt x="1299" y="363"/>
                      </a:lnTo>
                      <a:lnTo>
                        <a:pt x="1293" y="387"/>
                      </a:lnTo>
                      <a:lnTo>
                        <a:pt x="1298" y="428"/>
                      </a:lnTo>
                      <a:lnTo>
                        <a:pt x="1304" y="440"/>
                      </a:lnTo>
                      <a:lnTo>
                        <a:pt x="1301" y="443"/>
                      </a:lnTo>
                      <a:lnTo>
                        <a:pt x="1300" y="448"/>
                      </a:lnTo>
                      <a:lnTo>
                        <a:pt x="1310" y="501"/>
                      </a:lnTo>
                      <a:lnTo>
                        <a:pt x="1313" y="526"/>
                      </a:lnTo>
                      <a:lnTo>
                        <a:pt x="1311" y="549"/>
                      </a:lnTo>
                      <a:lnTo>
                        <a:pt x="1308" y="550"/>
                      </a:lnTo>
                      <a:lnTo>
                        <a:pt x="1300" y="561"/>
                      </a:lnTo>
                      <a:lnTo>
                        <a:pt x="1292" y="568"/>
                      </a:lnTo>
                      <a:lnTo>
                        <a:pt x="1281" y="572"/>
                      </a:lnTo>
                      <a:lnTo>
                        <a:pt x="1267" y="587"/>
                      </a:lnTo>
                      <a:lnTo>
                        <a:pt x="1252" y="608"/>
                      </a:lnTo>
                      <a:lnTo>
                        <a:pt x="1239" y="636"/>
                      </a:lnTo>
                      <a:lnTo>
                        <a:pt x="1230" y="660"/>
                      </a:lnTo>
                      <a:lnTo>
                        <a:pt x="1215" y="726"/>
                      </a:lnTo>
                      <a:lnTo>
                        <a:pt x="1214" y="734"/>
                      </a:lnTo>
                      <a:lnTo>
                        <a:pt x="1202" y="773"/>
                      </a:lnTo>
                      <a:lnTo>
                        <a:pt x="1189" y="796"/>
                      </a:lnTo>
                      <a:lnTo>
                        <a:pt x="1179" y="793"/>
                      </a:lnTo>
                      <a:lnTo>
                        <a:pt x="1172" y="791"/>
                      </a:lnTo>
                      <a:lnTo>
                        <a:pt x="1156" y="793"/>
                      </a:lnTo>
                      <a:lnTo>
                        <a:pt x="1148" y="798"/>
                      </a:lnTo>
                      <a:lnTo>
                        <a:pt x="1128" y="795"/>
                      </a:lnTo>
                      <a:lnTo>
                        <a:pt x="1104" y="777"/>
                      </a:lnTo>
                      <a:lnTo>
                        <a:pt x="1099" y="768"/>
                      </a:lnTo>
                      <a:lnTo>
                        <a:pt x="1065" y="736"/>
                      </a:lnTo>
                      <a:lnTo>
                        <a:pt x="1056" y="729"/>
                      </a:lnTo>
                      <a:lnTo>
                        <a:pt x="1048" y="727"/>
                      </a:lnTo>
                      <a:lnTo>
                        <a:pt x="1028" y="710"/>
                      </a:lnTo>
                      <a:lnTo>
                        <a:pt x="1013" y="694"/>
                      </a:lnTo>
                      <a:lnTo>
                        <a:pt x="1005" y="691"/>
                      </a:lnTo>
                      <a:lnTo>
                        <a:pt x="993" y="697"/>
                      </a:lnTo>
                      <a:lnTo>
                        <a:pt x="978" y="711"/>
                      </a:lnTo>
                      <a:lnTo>
                        <a:pt x="978" y="725"/>
                      </a:lnTo>
                      <a:lnTo>
                        <a:pt x="967" y="729"/>
                      </a:lnTo>
                      <a:lnTo>
                        <a:pt x="960" y="727"/>
                      </a:lnTo>
                      <a:lnTo>
                        <a:pt x="950" y="719"/>
                      </a:lnTo>
                      <a:lnTo>
                        <a:pt x="945" y="719"/>
                      </a:lnTo>
                      <a:lnTo>
                        <a:pt x="932" y="712"/>
                      </a:lnTo>
                      <a:lnTo>
                        <a:pt x="927" y="705"/>
                      </a:lnTo>
                      <a:lnTo>
                        <a:pt x="912" y="690"/>
                      </a:lnTo>
                      <a:lnTo>
                        <a:pt x="906" y="688"/>
                      </a:lnTo>
                      <a:lnTo>
                        <a:pt x="884" y="673"/>
                      </a:lnTo>
                      <a:lnTo>
                        <a:pt x="879" y="672"/>
                      </a:lnTo>
                      <a:lnTo>
                        <a:pt x="878" y="678"/>
                      </a:lnTo>
                      <a:lnTo>
                        <a:pt x="880" y="680"/>
                      </a:lnTo>
                      <a:lnTo>
                        <a:pt x="878" y="686"/>
                      </a:lnTo>
                      <a:lnTo>
                        <a:pt x="866" y="707"/>
                      </a:lnTo>
                      <a:lnTo>
                        <a:pt x="867" y="709"/>
                      </a:lnTo>
                      <a:lnTo>
                        <a:pt x="859" y="716"/>
                      </a:lnTo>
                      <a:lnTo>
                        <a:pt x="836" y="720"/>
                      </a:lnTo>
                      <a:lnTo>
                        <a:pt x="815" y="707"/>
                      </a:lnTo>
                      <a:lnTo>
                        <a:pt x="806" y="710"/>
                      </a:lnTo>
                      <a:lnTo>
                        <a:pt x="807" y="699"/>
                      </a:lnTo>
                      <a:lnTo>
                        <a:pt x="818" y="696"/>
                      </a:lnTo>
                      <a:lnTo>
                        <a:pt x="824" y="688"/>
                      </a:lnTo>
                      <a:lnTo>
                        <a:pt x="824" y="685"/>
                      </a:lnTo>
                      <a:lnTo>
                        <a:pt x="815" y="686"/>
                      </a:lnTo>
                      <a:lnTo>
                        <a:pt x="799" y="693"/>
                      </a:lnTo>
                      <a:lnTo>
                        <a:pt x="792" y="700"/>
                      </a:lnTo>
                      <a:lnTo>
                        <a:pt x="784" y="706"/>
                      </a:lnTo>
                      <a:lnTo>
                        <a:pt x="791" y="713"/>
                      </a:lnTo>
                      <a:lnTo>
                        <a:pt x="799" y="711"/>
                      </a:lnTo>
                      <a:lnTo>
                        <a:pt x="801" y="713"/>
                      </a:lnTo>
                      <a:lnTo>
                        <a:pt x="791" y="721"/>
                      </a:lnTo>
                      <a:lnTo>
                        <a:pt x="785" y="733"/>
                      </a:lnTo>
                      <a:lnTo>
                        <a:pt x="772" y="732"/>
                      </a:lnTo>
                      <a:lnTo>
                        <a:pt x="764" y="742"/>
                      </a:lnTo>
                      <a:lnTo>
                        <a:pt x="747" y="738"/>
                      </a:lnTo>
                      <a:lnTo>
                        <a:pt x="726" y="738"/>
                      </a:lnTo>
                      <a:lnTo>
                        <a:pt x="720" y="741"/>
                      </a:lnTo>
                      <a:lnTo>
                        <a:pt x="715" y="737"/>
                      </a:lnTo>
                      <a:lnTo>
                        <a:pt x="697" y="744"/>
                      </a:lnTo>
                      <a:lnTo>
                        <a:pt x="682" y="746"/>
                      </a:lnTo>
                      <a:lnTo>
                        <a:pt x="652" y="759"/>
                      </a:lnTo>
                      <a:lnTo>
                        <a:pt x="639" y="759"/>
                      </a:lnTo>
                      <a:lnTo>
                        <a:pt x="614" y="771"/>
                      </a:lnTo>
                      <a:lnTo>
                        <a:pt x="608" y="777"/>
                      </a:lnTo>
                      <a:lnTo>
                        <a:pt x="603" y="783"/>
                      </a:lnTo>
                      <a:lnTo>
                        <a:pt x="589" y="788"/>
                      </a:lnTo>
                      <a:lnTo>
                        <a:pt x="589" y="791"/>
                      </a:lnTo>
                      <a:lnTo>
                        <a:pt x="585" y="792"/>
                      </a:lnTo>
                      <a:lnTo>
                        <a:pt x="572" y="791"/>
                      </a:lnTo>
                      <a:lnTo>
                        <a:pt x="565" y="789"/>
                      </a:lnTo>
                      <a:lnTo>
                        <a:pt x="558" y="785"/>
                      </a:lnTo>
                      <a:lnTo>
                        <a:pt x="533" y="758"/>
                      </a:lnTo>
                      <a:lnTo>
                        <a:pt x="515" y="743"/>
                      </a:lnTo>
                      <a:lnTo>
                        <a:pt x="475" y="760"/>
                      </a:lnTo>
                      <a:lnTo>
                        <a:pt x="474" y="766"/>
                      </a:lnTo>
                      <a:lnTo>
                        <a:pt x="464" y="776"/>
                      </a:lnTo>
                      <a:lnTo>
                        <a:pt x="458" y="776"/>
                      </a:lnTo>
                      <a:lnTo>
                        <a:pt x="458" y="764"/>
                      </a:lnTo>
                      <a:lnTo>
                        <a:pt x="455" y="761"/>
                      </a:lnTo>
                      <a:lnTo>
                        <a:pt x="441" y="762"/>
                      </a:lnTo>
                      <a:lnTo>
                        <a:pt x="431" y="766"/>
                      </a:lnTo>
                      <a:lnTo>
                        <a:pt x="421" y="781"/>
                      </a:lnTo>
                      <a:lnTo>
                        <a:pt x="408" y="778"/>
                      </a:lnTo>
                      <a:lnTo>
                        <a:pt x="398" y="784"/>
                      </a:lnTo>
                      <a:lnTo>
                        <a:pt x="390" y="803"/>
                      </a:lnTo>
                      <a:lnTo>
                        <a:pt x="382" y="803"/>
                      </a:lnTo>
                      <a:lnTo>
                        <a:pt x="378" y="793"/>
                      </a:lnTo>
                      <a:lnTo>
                        <a:pt x="364" y="789"/>
                      </a:lnTo>
                      <a:lnTo>
                        <a:pt x="358" y="797"/>
                      </a:lnTo>
                      <a:lnTo>
                        <a:pt x="357" y="789"/>
                      </a:lnTo>
                      <a:lnTo>
                        <a:pt x="352" y="790"/>
                      </a:lnTo>
                      <a:lnTo>
                        <a:pt x="348" y="791"/>
                      </a:lnTo>
                      <a:lnTo>
                        <a:pt x="343" y="791"/>
                      </a:lnTo>
                      <a:lnTo>
                        <a:pt x="341" y="793"/>
                      </a:lnTo>
                      <a:lnTo>
                        <a:pt x="343" y="798"/>
                      </a:lnTo>
                      <a:lnTo>
                        <a:pt x="354" y="805"/>
                      </a:lnTo>
                      <a:lnTo>
                        <a:pt x="354" y="812"/>
                      </a:lnTo>
                      <a:lnTo>
                        <a:pt x="345" y="815"/>
                      </a:lnTo>
                      <a:lnTo>
                        <a:pt x="343" y="818"/>
                      </a:lnTo>
                      <a:lnTo>
                        <a:pt x="336" y="819"/>
                      </a:lnTo>
                      <a:lnTo>
                        <a:pt x="323" y="825"/>
                      </a:lnTo>
                      <a:lnTo>
                        <a:pt x="319" y="834"/>
                      </a:lnTo>
                      <a:lnTo>
                        <a:pt x="306" y="840"/>
                      </a:lnTo>
                      <a:lnTo>
                        <a:pt x="299" y="840"/>
                      </a:lnTo>
                      <a:lnTo>
                        <a:pt x="287" y="836"/>
                      </a:lnTo>
                      <a:lnTo>
                        <a:pt x="282" y="837"/>
                      </a:lnTo>
                      <a:lnTo>
                        <a:pt x="274" y="833"/>
                      </a:lnTo>
                      <a:lnTo>
                        <a:pt x="267" y="834"/>
                      </a:lnTo>
                      <a:lnTo>
                        <a:pt x="256" y="833"/>
                      </a:lnTo>
                      <a:lnTo>
                        <a:pt x="253" y="836"/>
                      </a:lnTo>
                      <a:lnTo>
                        <a:pt x="247" y="852"/>
                      </a:lnTo>
                      <a:lnTo>
                        <a:pt x="250" y="862"/>
                      </a:lnTo>
                      <a:lnTo>
                        <a:pt x="236" y="875"/>
                      </a:lnTo>
                      <a:lnTo>
                        <a:pt x="236" y="887"/>
                      </a:lnTo>
                      <a:lnTo>
                        <a:pt x="228" y="899"/>
                      </a:lnTo>
                      <a:lnTo>
                        <a:pt x="231" y="911"/>
                      </a:lnTo>
                      <a:lnTo>
                        <a:pt x="227" y="917"/>
                      </a:lnTo>
                      <a:lnTo>
                        <a:pt x="228" y="920"/>
                      </a:lnTo>
                      <a:lnTo>
                        <a:pt x="233" y="923"/>
                      </a:lnTo>
                      <a:lnTo>
                        <a:pt x="220" y="943"/>
                      </a:lnTo>
                      <a:lnTo>
                        <a:pt x="220" y="947"/>
                      </a:lnTo>
                      <a:lnTo>
                        <a:pt x="200" y="971"/>
                      </a:lnTo>
                      <a:lnTo>
                        <a:pt x="177" y="972"/>
                      </a:lnTo>
                      <a:lnTo>
                        <a:pt x="175" y="974"/>
                      </a:lnTo>
                      <a:lnTo>
                        <a:pt x="177" y="984"/>
                      </a:lnTo>
                      <a:lnTo>
                        <a:pt x="169" y="983"/>
                      </a:lnTo>
                      <a:lnTo>
                        <a:pt x="151" y="994"/>
                      </a:lnTo>
                      <a:lnTo>
                        <a:pt x="141" y="1009"/>
                      </a:lnTo>
                      <a:lnTo>
                        <a:pt x="145" y="1020"/>
                      </a:lnTo>
                      <a:lnTo>
                        <a:pt x="158" y="1036"/>
                      </a:lnTo>
                      <a:lnTo>
                        <a:pt x="152" y="1044"/>
                      </a:lnTo>
                      <a:lnTo>
                        <a:pt x="146" y="1069"/>
                      </a:lnTo>
                      <a:lnTo>
                        <a:pt x="135" y="1080"/>
                      </a:lnTo>
                      <a:lnTo>
                        <a:pt x="149" y="1076"/>
                      </a:lnTo>
                      <a:lnTo>
                        <a:pt x="157" y="1078"/>
                      </a:lnTo>
                      <a:lnTo>
                        <a:pt x="167" y="1078"/>
                      </a:lnTo>
                      <a:lnTo>
                        <a:pt x="169" y="1082"/>
                      </a:lnTo>
                      <a:lnTo>
                        <a:pt x="164" y="1093"/>
                      </a:lnTo>
                      <a:lnTo>
                        <a:pt x="171" y="1090"/>
                      </a:lnTo>
                      <a:lnTo>
                        <a:pt x="174" y="1092"/>
                      </a:lnTo>
                      <a:lnTo>
                        <a:pt x="165" y="1102"/>
                      </a:lnTo>
                      <a:lnTo>
                        <a:pt x="166" y="1113"/>
                      </a:lnTo>
                      <a:lnTo>
                        <a:pt x="153" y="1109"/>
                      </a:lnTo>
                      <a:lnTo>
                        <a:pt x="147" y="1101"/>
                      </a:lnTo>
                      <a:lnTo>
                        <a:pt x="132" y="1095"/>
                      </a:lnTo>
                      <a:lnTo>
                        <a:pt x="116" y="1103"/>
                      </a:lnTo>
                      <a:lnTo>
                        <a:pt x="117" y="1106"/>
                      </a:lnTo>
                      <a:lnTo>
                        <a:pt x="112" y="1111"/>
                      </a:lnTo>
                      <a:lnTo>
                        <a:pt x="106" y="1108"/>
                      </a:lnTo>
                      <a:lnTo>
                        <a:pt x="104" y="1110"/>
                      </a:lnTo>
                      <a:lnTo>
                        <a:pt x="102" y="1116"/>
                      </a:lnTo>
                      <a:lnTo>
                        <a:pt x="105" y="1117"/>
                      </a:lnTo>
                      <a:lnTo>
                        <a:pt x="105" y="1117"/>
                      </a:lnTo>
                      <a:lnTo>
                        <a:pt x="104" y="1123"/>
                      </a:lnTo>
                      <a:lnTo>
                        <a:pt x="104" y="1123"/>
                      </a:lnTo>
                      <a:lnTo>
                        <a:pt x="77" y="1115"/>
                      </a:lnTo>
                      <a:lnTo>
                        <a:pt x="73" y="1100"/>
                      </a:lnTo>
                      <a:lnTo>
                        <a:pt x="69" y="1096"/>
                      </a:lnTo>
                      <a:lnTo>
                        <a:pt x="63" y="1085"/>
                      </a:lnTo>
                      <a:lnTo>
                        <a:pt x="55" y="1077"/>
                      </a:lnTo>
                      <a:lnTo>
                        <a:pt x="50" y="1065"/>
                      </a:lnTo>
                      <a:lnTo>
                        <a:pt x="45" y="1033"/>
                      </a:lnTo>
                      <a:lnTo>
                        <a:pt x="35" y="1022"/>
                      </a:lnTo>
                      <a:lnTo>
                        <a:pt x="21" y="1013"/>
                      </a:lnTo>
                      <a:lnTo>
                        <a:pt x="16" y="1088"/>
                      </a:lnTo>
                      <a:lnTo>
                        <a:pt x="16" y="1092"/>
                      </a:lnTo>
                      <a:lnTo>
                        <a:pt x="15" y="1094"/>
                      </a:lnTo>
                      <a:lnTo>
                        <a:pt x="11" y="1091"/>
                      </a:lnTo>
                      <a:lnTo>
                        <a:pt x="11" y="1080"/>
                      </a:lnTo>
                      <a:lnTo>
                        <a:pt x="4" y="1070"/>
                      </a:lnTo>
                      <a:lnTo>
                        <a:pt x="0" y="1069"/>
                      </a:lnTo>
                      <a:lnTo>
                        <a:pt x="2" y="1059"/>
                      </a:lnTo>
                      <a:lnTo>
                        <a:pt x="4" y="1010"/>
                      </a:lnTo>
                      <a:lnTo>
                        <a:pt x="10" y="986"/>
                      </a:lnTo>
                      <a:lnTo>
                        <a:pt x="30" y="930"/>
                      </a:lnTo>
                      <a:lnTo>
                        <a:pt x="80" y="827"/>
                      </a:lnTo>
                      <a:lnTo>
                        <a:pt x="91" y="821"/>
                      </a:lnTo>
                      <a:lnTo>
                        <a:pt x="107" y="800"/>
                      </a:lnTo>
                      <a:lnTo>
                        <a:pt x="129" y="766"/>
                      </a:lnTo>
                      <a:lnTo>
                        <a:pt x="140" y="744"/>
                      </a:lnTo>
                      <a:lnTo>
                        <a:pt x="145" y="739"/>
                      </a:lnTo>
                      <a:lnTo>
                        <a:pt x="153" y="740"/>
                      </a:lnTo>
                      <a:lnTo>
                        <a:pt x="159" y="736"/>
                      </a:lnTo>
                      <a:lnTo>
                        <a:pt x="175" y="717"/>
                      </a:lnTo>
                      <a:lnTo>
                        <a:pt x="209" y="661"/>
                      </a:lnTo>
                      <a:lnTo>
                        <a:pt x="209" y="658"/>
                      </a:lnTo>
                      <a:lnTo>
                        <a:pt x="210" y="656"/>
                      </a:lnTo>
                      <a:lnTo>
                        <a:pt x="212" y="658"/>
                      </a:lnTo>
                      <a:lnTo>
                        <a:pt x="214" y="661"/>
                      </a:lnTo>
                      <a:lnTo>
                        <a:pt x="226" y="653"/>
                      </a:lnTo>
                      <a:lnTo>
                        <a:pt x="229" y="656"/>
                      </a:lnTo>
                      <a:lnTo>
                        <a:pt x="260" y="667"/>
                      </a:lnTo>
                      <a:lnTo>
                        <a:pt x="293" y="682"/>
                      </a:lnTo>
                      <a:lnTo>
                        <a:pt x="302" y="682"/>
                      </a:lnTo>
                      <a:lnTo>
                        <a:pt x="340" y="672"/>
                      </a:lnTo>
                      <a:lnTo>
                        <a:pt x="364" y="663"/>
                      </a:lnTo>
                      <a:lnTo>
                        <a:pt x="382" y="652"/>
                      </a:lnTo>
                      <a:lnTo>
                        <a:pt x="415" y="627"/>
                      </a:lnTo>
                      <a:lnTo>
                        <a:pt x="429" y="621"/>
                      </a:lnTo>
                      <a:lnTo>
                        <a:pt x="442" y="624"/>
                      </a:lnTo>
                      <a:lnTo>
                        <a:pt x="457" y="620"/>
                      </a:lnTo>
                      <a:lnTo>
                        <a:pt x="498" y="636"/>
                      </a:lnTo>
                      <a:lnTo>
                        <a:pt x="523" y="641"/>
                      </a:lnTo>
                      <a:lnTo>
                        <a:pt x="545" y="642"/>
                      </a:lnTo>
                      <a:lnTo>
                        <a:pt x="583" y="637"/>
                      </a:lnTo>
                      <a:lnTo>
                        <a:pt x="598" y="634"/>
                      </a:lnTo>
                      <a:lnTo>
                        <a:pt x="620" y="625"/>
                      </a:lnTo>
                      <a:lnTo>
                        <a:pt x="647" y="623"/>
                      </a:lnTo>
                      <a:lnTo>
                        <a:pt x="665" y="615"/>
                      </a:lnTo>
                      <a:lnTo>
                        <a:pt x="736" y="560"/>
                      </a:lnTo>
                      <a:lnTo>
                        <a:pt x="744" y="551"/>
                      </a:lnTo>
                      <a:lnTo>
                        <a:pt x="800" y="467"/>
                      </a:lnTo>
                      <a:lnTo>
                        <a:pt x="837" y="399"/>
                      </a:lnTo>
                      <a:lnTo>
                        <a:pt x="843" y="391"/>
                      </a:lnTo>
                      <a:lnTo>
                        <a:pt x="888" y="289"/>
                      </a:lnTo>
                      <a:lnTo>
                        <a:pt x="926" y="248"/>
                      </a:lnTo>
                      <a:lnTo>
                        <a:pt x="940" y="230"/>
                      </a:lnTo>
                      <a:lnTo>
                        <a:pt x="966" y="178"/>
                      </a:lnTo>
                      <a:lnTo>
                        <a:pt x="979" y="164"/>
                      </a:lnTo>
                      <a:lnTo>
                        <a:pt x="977" y="169"/>
                      </a:lnTo>
                      <a:lnTo>
                        <a:pt x="991" y="166"/>
                      </a:lnTo>
                      <a:lnTo>
                        <a:pt x="991" y="164"/>
                      </a:lnTo>
                      <a:lnTo>
                        <a:pt x="996" y="168"/>
                      </a:lnTo>
                      <a:lnTo>
                        <a:pt x="1005" y="169"/>
                      </a:lnTo>
                      <a:lnTo>
                        <a:pt x="1019" y="171"/>
                      </a:lnTo>
                      <a:lnTo>
                        <a:pt x="1032" y="169"/>
                      </a:lnTo>
                      <a:lnTo>
                        <a:pt x="1052" y="172"/>
                      </a:lnTo>
                      <a:lnTo>
                        <a:pt x="1064" y="172"/>
                      </a:lnTo>
                      <a:lnTo>
                        <a:pt x="1093" y="167"/>
                      </a:lnTo>
                      <a:lnTo>
                        <a:pt x="1141" y="149"/>
                      </a:lnTo>
                      <a:lnTo>
                        <a:pt x="1185" y="122"/>
                      </a:lnTo>
                      <a:lnTo>
                        <a:pt x="1297" y="23"/>
                      </a:lnTo>
                      <a:lnTo>
                        <a:pt x="1317" y="10"/>
                      </a:lnTo>
                      <a:lnTo>
                        <a:pt x="1327" y="5"/>
                      </a:lnTo>
                      <a:lnTo>
                        <a:pt x="1347" y="0"/>
                      </a:lnTo>
                      <a:lnTo>
                        <a:pt x="1356" y="1"/>
                      </a:lnTo>
                      <a:lnTo>
                        <a:pt x="1368" y="8"/>
                      </a:lnTo>
                      <a:lnTo>
                        <a:pt x="1349" y="25"/>
                      </a:lnTo>
                      <a:lnTo>
                        <a:pt x="1343" y="33"/>
                      </a:lnTo>
                      <a:close/>
                    </a:path>
                  </a:pathLst>
                </a:custGeom>
                <a:solidFill>
                  <a:srgbClr val="72849C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lIns="68571" tIns="34286" rIns="68571" bIns="34286" anchor="ctr"/>
                <a:lstStyle/>
                <a:p>
                  <a:pPr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1" name="Region Zealand" descr="{&quot;Key&quot;:&quot;region zealand&quot;,&quot;Name&quot;:&quot;Region Zealand&quot;,&quot;Value&quot;:1.0,&quot;Formula&quot;:&quot;1&quot;,&quot;Text&quot;:&quot;1&quot;,&quot;OfficeApplication&quot;:1,&quot;HasValue&quot;:true}"/>
                <p:cNvSpPr>
                  <a:spLocks noEditPoints="1"/>
                </p:cNvSpPr>
                <p:nvPr/>
              </p:nvSpPr>
              <p:spPr bwMode="auto">
                <a:xfrm>
                  <a:off x="5848350" y="3841750"/>
                  <a:ext cx="1504950" cy="2271712"/>
                </a:xfrm>
                <a:custGeom>
                  <a:avLst/>
                  <a:gdLst>
                    <a:gd name="T0" fmla="*/ 276 w 948"/>
                    <a:gd name="T1" fmla="*/ 1084 h 1431"/>
                    <a:gd name="T2" fmla="*/ 407 w 948"/>
                    <a:gd name="T3" fmla="*/ 1167 h 1431"/>
                    <a:gd name="T4" fmla="*/ 495 w 948"/>
                    <a:gd name="T5" fmla="*/ 1127 h 1431"/>
                    <a:gd name="T6" fmla="*/ 551 w 948"/>
                    <a:gd name="T7" fmla="*/ 1269 h 1431"/>
                    <a:gd name="T8" fmla="*/ 534 w 948"/>
                    <a:gd name="T9" fmla="*/ 1342 h 1431"/>
                    <a:gd name="T10" fmla="*/ 435 w 948"/>
                    <a:gd name="T11" fmla="*/ 1331 h 1431"/>
                    <a:gd name="T12" fmla="*/ 368 w 948"/>
                    <a:gd name="T13" fmla="*/ 1395 h 1431"/>
                    <a:gd name="T14" fmla="*/ 64 w 948"/>
                    <a:gd name="T15" fmla="*/ 1170 h 1431"/>
                    <a:gd name="T16" fmla="*/ 113 w 948"/>
                    <a:gd name="T17" fmla="*/ 1198 h 1431"/>
                    <a:gd name="T18" fmla="*/ 108 w 948"/>
                    <a:gd name="T19" fmla="*/ 1131 h 1431"/>
                    <a:gd name="T20" fmla="*/ 147 w 948"/>
                    <a:gd name="T21" fmla="*/ 1050 h 1431"/>
                    <a:gd name="T22" fmla="*/ 281 w 948"/>
                    <a:gd name="T23" fmla="*/ 1041 h 1431"/>
                    <a:gd name="T24" fmla="*/ 592 w 948"/>
                    <a:gd name="T25" fmla="*/ 1078 h 1431"/>
                    <a:gd name="T26" fmla="*/ 713 w 948"/>
                    <a:gd name="T27" fmla="*/ 1176 h 1431"/>
                    <a:gd name="T28" fmla="*/ 568 w 948"/>
                    <a:gd name="T29" fmla="*/ 1305 h 1431"/>
                    <a:gd name="T30" fmla="*/ 499 w 948"/>
                    <a:gd name="T31" fmla="*/ 1143 h 1431"/>
                    <a:gd name="T32" fmla="*/ 532 w 948"/>
                    <a:gd name="T33" fmla="*/ 1063 h 1431"/>
                    <a:gd name="T34" fmla="*/ 353 w 948"/>
                    <a:gd name="T35" fmla="*/ 1021 h 1431"/>
                    <a:gd name="T36" fmla="*/ 267 w 948"/>
                    <a:gd name="T37" fmla="*/ 979 h 1431"/>
                    <a:gd name="T38" fmla="*/ 881 w 948"/>
                    <a:gd name="T39" fmla="*/ 978 h 1431"/>
                    <a:gd name="T40" fmla="*/ 713 w 948"/>
                    <a:gd name="T41" fmla="*/ 1101 h 1431"/>
                    <a:gd name="T42" fmla="*/ 679 w 948"/>
                    <a:gd name="T43" fmla="*/ 1090 h 1431"/>
                    <a:gd name="T44" fmla="*/ 753 w 948"/>
                    <a:gd name="T45" fmla="*/ 1034 h 1431"/>
                    <a:gd name="T46" fmla="*/ 796 w 948"/>
                    <a:gd name="T47" fmla="*/ 992 h 1431"/>
                    <a:gd name="T48" fmla="*/ 786 w 948"/>
                    <a:gd name="T49" fmla="*/ 923 h 1431"/>
                    <a:gd name="T50" fmla="*/ 165 w 948"/>
                    <a:gd name="T51" fmla="*/ 835 h 1431"/>
                    <a:gd name="T52" fmla="*/ 349 w 948"/>
                    <a:gd name="T53" fmla="*/ 808 h 1431"/>
                    <a:gd name="T54" fmla="*/ 189 w 948"/>
                    <a:gd name="T55" fmla="*/ 807 h 1431"/>
                    <a:gd name="T56" fmla="*/ 838 w 948"/>
                    <a:gd name="T57" fmla="*/ 412 h 1431"/>
                    <a:gd name="T58" fmla="*/ 519 w 948"/>
                    <a:gd name="T59" fmla="*/ 252 h 1431"/>
                    <a:gd name="T60" fmla="*/ 139 w 948"/>
                    <a:gd name="T61" fmla="*/ 98 h 1431"/>
                    <a:gd name="T62" fmla="*/ 498 w 948"/>
                    <a:gd name="T63" fmla="*/ 69 h 1431"/>
                    <a:gd name="T64" fmla="*/ 443 w 948"/>
                    <a:gd name="T65" fmla="*/ 207 h 1431"/>
                    <a:gd name="T66" fmla="*/ 503 w 948"/>
                    <a:gd name="T67" fmla="*/ 265 h 1431"/>
                    <a:gd name="T68" fmla="*/ 508 w 948"/>
                    <a:gd name="T69" fmla="*/ 279 h 1431"/>
                    <a:gd name="T70" fmla="*/ 556 w 948"/>
                    <a:gd name="T71" fmla="*/ 279 h 1431"/>
                    <a:gd name="T72" fmla="*/ 635 w 948"/>
                    <a:gd name="T73" fmla="*/ 332 h 1431"/>
                    <a:gd name="T74" fmla="*/ 635 w 948"/>
                    <a:gd name="T75" fmla="*/ 321 h 1431"/>
                    <a:gd name="T76" fmla="*/ 678 w 948"/>
                    <a:gd name="T77" fmla="*/ 336 h 1431"/>
                    <a:gd name="T78" fmla="*/ 693 w 948"/>
                    <a:gd name="T79" fmla="*/ 261 h 1431"/>
                    <a:gd name="T80" fmla="*/ 758 w 948"/>
                    <a:gd name="T81" fmla="*/ 393 h 1431"/>
                    <a:gd name="T82" fmla="*/ 807 w 948"/>
                    <a:gd name="T83" fmla="*/ 608 h 1431"/>
                    <a:gd name="T84" fmla="*/ 768 w 948"/>
                    <a:gd name="T85" fmla="*/ 772 h 1431"/>
                    <a:gd name="T86" fmla="*/ 647 w 948"/>
                    <a:gd name="T87" fmla="*/ 862 h 1431"/>
                    <a:gd name="T88" fmla="*/ 738 w 948"/>
                    <a:gd name="T89" fmla="*/ 900 h 1431"/>
                    <a:gd name="T90" fmla="*/ 716 w 948"/>
                    <a:gd name="T91" fmla="*/ 965 h 1431"/>
                    <a:gd name="T92" fmla="*/ 560 w 948"/>
                    <a:gd name="T93" fmla="*/ 996 h 1431"/>
                    <a:gd name="T94" fmla="*/ 512 w 948"/>
                    <a:gd name="T95" fmla="*/ 928 h 1431"/>
                    <a:gd name="T96" fmla="*/ 521 w 948"/>
                    <a:gd name="T97" fmla="*/ 852 h 1431"/>
                    <a:gd name="T98" fmla="*/ 442 w 948"/>
                    <a:gd name="T99" fmla="*/ 818 h 1431"/>
                    <a:gd name="T100" fmla="*/ 309 w 948"/>
                    <a:gd name="T101" fmla="*/ 804 h 1431"/>
                    <a:gd name="T102" fmla="*/ 272 w 948"/>
                    <a:gd name="T103" fmla="*/ 797 h 1431"/>
                    <a:gd name="T104" fmla="*/ 226 w 948"/>
                    <a:gd name="T105" fmla="*/ 770 h 1431"/>
                    <a:gd name="T106" fmla="*/ 172 w 948"/>
                    <a:gd name="T107" fmla="*/ 702 h 1431"/>
                    <a:gd name="T108" fmla="*/ 153 w 948"/>
                    <a:gd name="T109" fmla="*/ 677 h 1431"/>
                    <a:gd name="T110" fmla="*/ 146 w 948"/>
                    <a:gd name="T111" fmla="*/ 485 h 1431"/>
                    <a:gd name="T112" fmla="*/ 147 w 948"/>
                    <a:gd name="T113" fmla="*/ 398 h 1431"/>
                    <a:gd name="T114" fmla="*/ 129 w 948"/>
                    <a:gd name="T115" fmla="*/ 339 h 1431"/>
                    <a:gd name="T116" fmla="*/ 100 w 948"/>
                    <a:gd name="T117" fmla="*/ 280 h 1431"/>
                    <a:gd name="T118" fmla="*/ 260 w 948"/>
                    <a:gd name="T119" fmla="*/ 259 h 1431"/>
                    <a:gd name="T120" fmla="*/ 369 w 948"/>
                    <a:gd name="T121" fmla="*/ 116 h 1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48" h="1431">
                      <a:moveTo>
                        <a:pt x="358" y="1087"/>
                      </a:moveTo>
                      <a:lnTo>
                        <a:pt x="355" y="1090"/>
                      </a:lnTo>
                      <a:lnTo>
                        <a:pt x="351" y="1088"/>
                      </a:lnTo>
                      <a:lnTo>
                        <a:pt x="346" y="1092"/>
                      </a:lnTo>
                      <a:lnTo>
                        <a:pt x="354" y="1102"/>
                      </a:lnTo>
                      <a:lnTo>
                        <a:pt x="365" y="1109"/>
                      </a:lnTo>
                      <a:lnTo>
                        <a:pt x="366" y="1114"/>
                      </a:lnTo>
                      <a:lnTo>
                        <a:pt x="358" y="1110"/>
                      </a:lnTo>
                      <a:lnTo>
                        <a:pt x="344" y="1114"/>
                      </a:lnTo>
                      <a:lnTo>
                        <a:pt x="341" y="1102"/>
                      </a:lnTo>
                      <a:lnTo>
                        <a:pt x="349" y="1099"/>
                      </a:lnTo>
                      <a:lnTo>
                        <a:pt x="346" y="1093"/>
                      </a:lnTo>
                      <a:lnTo>
                        <a:pt x="344" y="1094"/>
                      </a:lnTo>
                      <a:lnTo>
                        <a:pt x="340" y="1090"/>
                      </a:lnTo>
                      <a:lnTo>
                        <a:pt x="340" y="1087"/>
                      </a:lnTo>
                      <a:lnTo>
                        <a:pt x="358" y="1087"/>
                      </a:lnTo>
                      <a:close/>
                      <a:moveTo>
                        <a:pt x="222" y="1044"/>
                      </a:moveTo>
                      <a:lnTo>
                        <a:pt x="238" y="1056"/>
                      </a:lnTo>
                      <a:lnTo>
                        <a:pt x="253" y="1076"/>
                      </a:lnTo>
                      <a:lnTo>
                        <a:pt x="257" y="1075"/>
                      </a:lnTo>
                      <a:lnTo>
                        <a:pt x="268" y="1079"/>
                      </a:lnTo>
                      <a:lnTo>
                        <a:pt x="276" y="1084"/>
                      </a:lnTo>
                      <a:lnTo>
                        <a:pt x="277" y="1102"/>
                      </a:lnTo>
                      <a:lnTo>
                        <a:pt x="289" y="1116"/>
                      </a:lnTo>
                      <a:lnTo>
                        <a:pt x="298" y="1122"/>
                      </a:lnTo>
                      <a:lnTo>
                        <a:pt x="304" y="1123"/>
                      </a:lnTo>
                      <a:lnTo>
                        <a:pt x="310" y="1128"/>
                      </a:lnTo>
                      <a:lnTo>
                        <a:pt x="316" y="1129"/>
                      </a:lnTo>
                      <a:lnTo>
                        <a:pt x="314" y="1135"/>
                      </a:lnTo>
                      <a:lnTo>
                        <a:pt x="317" y="1138"/>
                      </a:lnTo>
                      <a:lnTo>
                        <a:pt x="325" y="1133"/>
                      </a:lnTo>
                      <a:lnTo>
                        <a:pt x="334" y="1136"/>
                      </a:lnTo>
                      <a:lnTo>
                        <a:pt x="337" y="1140"/>
                      </a:lnTo>
                      <a:lnTo>
                        <a:pt x="335" y="1153"/>
                      </a:lnTo>
                      <a:lnTo>
                        <a:pt x="337" y="1158"/>
                      </a:lnTo>
                      <a:lnTo>
                        <a:pt x="341" y="1157"/>
                      </a:lnTo>
                      <a:lnTo>
                        <a:pt x="351" y="1160"/>
                      </a:lnTo>
                      <a:lnTo>
                        <a:pt x="351" y="1166"/>
                      </a:lnTo>
                      <a:lnTo>
                        <a:pt x="361" y="1164"/>
                      </a:lnTo>
                      <a:lnTo>
                        <a:pt x="373" y="1169"/>
                      </a:lnTo>
                      <a:lnTo>
                        <a:pt x="386" y="1169"/>
                      </a:lnTo>
                      <a:lnTo>
                        <a:pt x="392" y="1175"/>
                      </a:lnTo>
                      <a:lnTo>
                        <a:pt x="405" y="1172"/>
                      </a:lnTo>
                      <a:lnTo>
                        <a:pt x="407" y="1167"/>
                      </a:lnTo>
                      <a:lnTo>
                        <a:pt x="398" y="1164"/>
                      </a:lnTo>
                      <a:lnTo>
                        <a:pt x="390" y="1152"/>
                      </a:lnTo>
                      <a:lnTo>
                        <a:pt x="391" y="1146"/>
                      </a:lnTo>
                      <a:lnTo>
                        <a:pt x="397" y="1146"/>
                      </a:lnTo>
                      <a:lnTo>
                        <a:pt x="402" y="1141"/>
                      </a:lnTo>
                      <a:lnTo>
                        <a:pt x="416" y="1149"/>
                      </a:lnTo>
                      <a:lnTo>
                        <a:pt x="428" y="1146"/>
                      </a:lnTo>
                      <a:lnTo>
                        <a:pt x="433" y="1141"/>
                      </a:lnTo>
                      <a:lnTo>
                        <a:pt x="441" y="1140"/>
                      </a:lnTo>
                      <a:lnTo>
                        <a:pt x="440" y="1134"/>
                      </a:lnTo>
                      <a:lnTo>
                        <a:pt x="436" y="1129"/>
                      </a:lnTo>
                      <a:lnTo>
                        <a:pt x="439" y="1110"/>
                      </a:lnTo>
                      <a:lnTo>
                        <a:pt x="432" y="1100"/>
                      </a:lnTo>
                      <a:lnTo>
                        <a:pt x="433" y="1096"/>
                      </a:lnTo>
                      <a:lnTo>
                        <a:pt x="445" y="1098"/>
                      </a:lnTo>
                      <a:lnTo>
                        <a:pt x="447" y="1102"/>
                      </a:lnTo>
                      <a:lnTo>
                        <a:pt x="452" y="1103"/>
                      </a:lnTo>
                      <a:lnTo>
                        <a:pt x="459" y="1113"/>
                      </a:lnTo>
                      <a:lnTo>
                        <a:pt x="474" y="1125"/>
                      </a:lnTo>
                      <a:lnTo>
                        <a:pt x="479" y="1127"/>
                      </a:lnTo>
                      <a:lnTo>
                        <a:pt x="492" y="1124"/>
                      </a:lnTo>
                      <a:lnTo>
                        <a:pt x="495" y="1127"/>
                      </a:lnTo>
                      <a:lnTo>
                        <a:pt x="490" y="1133"/>
                      </a:lnTo>
                      <a:lnTo>
                        <a:pt x="489" y="1139"/>
                      </a:lnTo>
                      <a:lnTo>
                        <a:pt x="496" y="1159"/>
                      </a:lnTo>
                      <a:lnTo>
                        <a:pt x="501" y="1159"/>
                      </a:lnTo>
                      <a:lnTo>
                        <a:pt x="512" y="1166"/>
                      </a:lnTo>
                      <a:lnTo>
                        <a:pt x="518" y="1166"/>
                      </a:lnTo>
                      <a:lnTo>
                        <a:pt x="513" y="1178"/>
                      </a:lnTo>
                      <a:lnTo>
                        <a:pt x="514" y="1191"/>
                      </a:lnTo>
                      <a:lnTo>
                        <a:pt x="522" y="1198"/>
                      </a:lnTo>
                      <a:lnTo>
                        <a:pt x="524" y="1203"/>
                      </a:lnTo>
                      <a:lnTo>
                        <a:pt x="529" y="1203"/>
                      </a:lnTo>
                      <a:lnTo>
                        <a:pt x="530" y="1206"/>
                      </a:lnTo>
                      <a:lnTo>
                        <a:pt x="536" y="1207"/>
                      </a:lnTo>
                      <a:lnTo>
                        <a:pt x="543" y="1216"/>
                      </a:lnTo>
                      <a:lnTo>
                        <a:pt x="553" y="1222"/>
                      </a:lnTo>
                      <a:lnTo>
                        <a:pt x="557" y="1228"/>
                      </a:lnTo>
                      <a:lnTo>
                        <a:pt x="556" y="1236"/>
                      </a:lnTo>
                      <a:lnTo>
                        <a:pt x="556" y="1240"/>
                      </a:lnTo>
                      <a:lnTo>
                        <a:pt x="560" y="1246"/>
                      </a:lnTo>
                      <a:lnTo>
                        <a:pt x="561" y="1259"/>
                      </a:lnTo>
                      <a:lnTo>
                        <a:pt x="551" y="1266"/>
                      </a:lnTo>
                      <a:lnTo>
                        <a:pt x="551" y="1269"/>
                      </a:lnTo>
                      <a:lnTo>
                        <a:pt x="543" y="1269"/>
                      </a:lnTo>
                      <a:lnTo>
                        <a:pt x="532" y="1261"/>
                      </a:lnTo>
                      <a:lnTo>
                        <a:pt x="534" y="1265"/>
                      </a:lnTo>
                      <a:lnTo>
                        <a:pt x="532" y="1272"/>
                      </a:lnTo>
                      <a:lnTo>
                        <a:pt x="536" y="1276"/>
                      </a:lnTo>
                      <a:lnTo>
                        <a:pt x="528" y="1280"/>
                      </a:lnTo>
                      <a:lnTo>
                        <a:pt x="530" y="1287"/>
                      </a:lnTo>
                      <a:lnTo>
                        <a:pt x="533" y="1291"/>
                      </a:lnTo>
                      <a:lnTo>
                        <a:pt x="541" y="1297"/>
                      </a:lnTo>
                      <a:lnTo>
                        <a:pt x="550" y="1301"/>
                      </a:lnTo>
                      <a:lnTo>
                        <a:pt x="553" y="1298"/>
                      </a:lnTo>
                      <a:lnTo>
                        <a:pt x="558" y="1303"/>
                      </a:lnTo>
                      <a:lnTo>
                        <a:pt x="557" y="1309"/>
                      </a:lnTo>
                      <a:lnTo>
                        <a:pt x="546" y="1311"/>
                      </a:lnTo>
                      <a:lnTo>
                        <a:pt x="554" y="1319"/>
                      </a:lnTo>
                      <a:lnTo>
                        <a:pt x="546" y="1323"/>
                      </a:lnTo>
                      <a:lnTo>
                        <a:pt x="551" y="1328"/>
                      </a:lnTo>
                      <a:lnTo>
                        <a:pt x="547" y="1327"/>
                      </a:lnTo>
                      <a:lnTo>
                        <a:pt x="533" y="1334"/>
                      </a:lnTo>
                      <a:lnTo>
                        <a:pt x="544" y="1342"/>
                      </a:lnTo>
                      <a:lnTo>
                        <a:pt x="539" y="1344"/>
                      </a:lnTo>
                      <a:lnTo>
                        <a:pt x="534" y="1342"/>
                      </a:lnTo>
                      <a:lnTo>
                        <a:pt x="533" y="1347"/>
                      </a:lnTo>
                      <a:lnTo>
                        <a:pt x="529" y="1345"/>
                      </a:lnTo>
                      <a:lnTo>
                        <a:pt x="526" y="1349"/>
                      </a:lnTo>
                      <a:lnTo>
                        <a:pt x="516" y="1345"/>
                      </a:lnTo>
                      <a:lnTo>
                        <a:pt x="499" y="1342"/>
                      </a:lnTo>
                      <a:lnTo>
                        <a:pt x="490" y="1343"/>
                      </a:lnTo>
                      <a:lnTo>
                        <a:pt x="484" y="1339"/>
                      </a:lnTo>
                      <a:lnTo>
                        <a:pt x="487" y="1335"/>
                      </a:lnTo>
                      <a:lnTo>
                        <a:pt x="483" y="1328"/>
                      </a:lnTo>
                      <a:lnTo>
                        <a:pt x="479" y="1330"/>
                      </a:lnTo>
                      <a:lnTo>
                        <a:pt x="481" y="1338"/>
                      </a:lnTo>
                      <a:lnTo>
                        <a:pt x="474" y="1342"/>
                      </a:lnTo>
                      <a:lnTo>
                        <a:pt x="470" y="1333"/>
                      </a:lnTo>
                      <a:lnTo>
                        <a:pt x="461" y="1329"/>
                      </a:lnTo>
                      <a:lnTo>
                        <a:pt x="451" y="1332"/>
                      </a:lnTo>
                      <a:lnTo>
                        <a:pt x="448" y="1327"/>
                      </a:lnTo>
                      <a:lnTo>
                        <a:pt x="445" y="1331"/>
                      </a:lnTo>
                      <a:lnTo>
                        <a:pt x="447" y="1333"/>
                      </a:lnTo>
                      <a:lnTo>
                        <a:pt x="444" y="1336"/>
                      </a:lnTo>
                      <a:lnTo>
                        <a:pt x="443" y="1333"/>
                      </a:lnTo>
                      <a:lnTo>
                        <a:pt x="440" y="1335"/>
                      </a:lnTo>
                      <a:lnTo>
                        <a:pt x="435" y="1331"/>
                      </a:lnTo>
                      <a:lnTo>
                        <a:pt x="428" y="1331"/>
                      </a:lnTo>
                      <a:lnTo>
                        <a:pt x="427" y="1334"/>
                      </a:lnTo>
                      <a:lnTo>
                        <a:pt x="421" y="1335"/>
                      </a:lnTo>
                      <a:lnTo>
                        <a:pt x="415" y="1334"/>
                      </a:lnTo>
                      <a:lnTo>
                        <a:pt x="406" y="1329"/>
                      </a:lnTo>
                      <a:lnTo>
                        <a:pt x="402" y="1331"/>
                      </a:lnTo>
                      <a:lnTo>
                        <a:pt x="406" y="1334"/>
                      </a:lnTo>
                      <a:lnTo>
                        <a:pt x="405" y="1336"/>
                      </a:lnTo>
                      <a:lnTo>
                        <a:pt x="389" y="1334"/>
                      </a:lnTo>
                      <a:lnTo>
                        <a:pt x="389" y="1337"/>
                      </a:lnTo>
                      <a:lnTo>
                        <a:pt x="394" y="1342"/>
                      </a:lnTo>
                      <a:lnTo>
                        <a:pt x="384" y="1343"/>
                      </a:lnTo>
                      <a:lnTo>
                        <a:pt x="383" y="1348"/>
                      </a:lnTo>
                      <a:lnTo>
                        <a:pt x="380" y="1354"/>
                      </a:lnTo>
                      <a:lnTo>
                        <a:pt x="368" y="1355"/>
                      </a:lnTo>
                      <a:lnTo>
                        <a:pt x="365" y="1358"/>
                      </a:lnTo>
                      <a:lnTo>
                        <a:pt x="353" y="1358"/>
                      </a:lnTo>
                      <a:lnTo>
                        <a:pt x="333" y="1381"/>
                      </a:lnTo>
                      <a:lnTo>
                        <a:pt x="350" y="1393"/>
                      </a:lnTo>
                      <a:lnTo>
                        <a:pt x="355" y="1393"/>
                      </a:lnTo>
                      <a:lnTo>
                        <a:pt x="360" y="1396"/>
                      </a:lnTo>
                      <a:lnTo>
                        <a:pt x="368" y="1395"/>
                      </a:lnTo>
                      <a:lnTo>
                        <a:pt x="370" y="1392"/>
                      </a:lnTo>
                      <a:lnTo>
                        <a:pt x="371" y="1396"/>
                      </a:lnTo>
                      <a:lnTo>
                        <a:pt x="361" y="1398"/>
                      </a:lnTo>
                      <a:lnTo>
                        <a:pt x="354" y="1396"/>
                      </a:lnTo>
                      <a:lnTo>
                        <a:pt x="325" y="1379"/>
                      </a:lnTo>
                      <a:lnTo>
                        <a:pt x="302" y="1360"/>
                      </a:lnTo>
                      <a:lnTo>
                        <a:pt x="281" y="1348"/>
                      </a:lnTo>
                      <a:lnTo>
                        <a:pt x="271" y="1339"/>
                      </a:lnTo>
                      <a:lnTo>
                        <a:pt x="267" y="1338"/>
                      </a:lnTo>
                      <a:lnTo>
                        <a:pt x="241" y="1309"/>
                      </a:lnTo>
                      <a:lnTo>
                        <a:pt x="222" y="1293"/>
                      </a:lnTo>
                      <a:lnTo>
                        <a:pt x="207" y="1287"/>
                      </a:lnTo>
                      <a:lnTo>
                        <a:pt x="201" y="1287"/>
                      </a:lnTo>
                      <a:lnTo>
                        <a:pt x="187" y="1278"/>
                      </a:lnTo>
                      <a:lnTo>
                        <a:pt x="138" y="1258"/>
                      </a:lnTo>
                      <a:lnTo>
                        <a:pt x="104" y="1248"/>
                      </a:lnTo>
                      <a:lnTo>
                        <a:pt x="76" y="1233"/>
                      </a:lnTo>
                      <a:lnTo>
                        <a:pt x="52" y="1194"/>
                      </a:lnTo>
                      <a:lnTo>
                        <a:pt x="48" y="1167"/>
                      </a:lnTo>
                      <a:lnTo>
                        <a:pt x="50" y="1163"/>
                      </a:lnTo>
                      <a:lnTo>
                        <a:pt x="53" y="1161"/>
                      </a:lnTo>
                      <a:lnTo>
                        <a:pt x="64" y="1170"/>
                      </a:lnTo>
                      <a:lnTo>
                        <a:pt x="53" y="1163"/>
                      </a:lnTo>
                      <a:lnTo>
                        <a:pt x="52" y="1166"/>
                      </a:lnTo>
                      <a:lnTo>
                        <a:pt x="55" y="1170"/>
                      </a:lnTo>
                      <a:lnTo>
                        <a:pt x="55" y="1173"/>
                      </a:lnTo>
                      <a:lnTo>
                        <a:pt x="52" y="1172"/>
                      </a:lnTo>
                      <a:lnTo>
                        <a:pt x="50" y="1176"/>
                      </a:lnTo>
                      <a:lnTo>
                        <a:pt x="53" y="1192"/>
                      </a:lnTo>
                      <a:lnTo>
                        <a:pt x="58" y="1201"/>
                      </a:lnTo>
                      <a:lnTo>
                        <a:pt x="61" y="1201"/>
                      </a:lnTo>
                      <a:lnTo>
                        <a:pt x="62" y="1200"/>
                      </a:lnTo>
                      <a:lnTo>
                        <a:pt x="72" y="1200"/>
                      </a:lnTo>
                      <a:lnTo>
                        <a:pt x="79" y="1196"/>
                      </a:lnTo>
                      <a:lnTo>
                        <a:pt x="82" y="1190"/>
                      </a:lnTo>
                      <a:lnTo>
                        <a:pt x="78" y="1185"/>
                      </a:lnTo>
                      <a:lnTo>
                        <a:pt x="65" y="1178"/>
                      </a:lnTo>
                      <a:lnTo>
                        <a:pt x="74" y="1178"/>
                      </a:lnTo>
                      <a:lnTo>
                        <a:pt x="82" y="1183"/>
                      </a:lnTo>
                      <a:lnTo>
                        <a:pt x="85" y="1182"/>
                      </a:lnTo>
                      <a:lnTo>
                        <a:pt x="90" y="1188"/>
                      </a:lnTo>
                      <a:lnTo>
                        <a:pt x="95" y="1188"/>
                      </a:lnTo>
                      <a:lnTo>
                        <a:pt x="99" y="1199"/>
                      </a:lnTo>
                      <a:lnTo>
                        <a:pt x="113" y="1198"/>
                      </a:lnTo>
                      <a:lnTo>
                        <a:pt x="118" y="1191"/>
                      </a:lnTo>
                      <a:lnTo>
                        <a:pt x="112" y="1185"/>
                      </a:lnTo>
                      <a:lnTo>
                        <a:pt x="112" y="1177"/>
                      </a:lnTo>
                      <a:lnTo>
                        <a:pt x="121" y="1187"/>
                      </a:lnTo>
                      <a:lnTo>
                        <a:pt x="126" y="1186"/>
                      </a:lnTo>
                      <a:lnTo>
                        <a:pt x="129" y="1177"/>
                      </a:lnTo>
                      <a:lnTo>
                        <a:pt x="137" y="1174"/>
                      </a:lnTo>
                      <a:lnTo>
                        <a:pt x="136" y="1167"/>
                      </a:lnTo>
                      <a:lnTo>
                        <a:pt x="143" y="1170"/>
                      </a:lnTo>
                      <a:lnTo>
                        <a:pt x="146" y="1167"/>
                      </a:lnTo>
                      <a:lnTo>
                        <a:pt x="144" y="1164"/>
                      </a:lnTo>
                      <a:lnTo>
                        <a:pt x="140" y="1166"/>
                      </a:lnTo>
                      <a:lnTo>
                        <a:pt x="134" y="1163"/>
                      </a:lnTo>
                      <a:lnTo>
                        <a:pt x="125" y="1165"/>
                      </a:lnTo>
                      <a:lnTo>
                        <a:pt x="125" y="1167"/>
                      </a:lnTo>
                      <a:lnTo>
                        <a:pt x="121" y="1162"/>
                      </a:lnTo>
                      <a:lnTo>
                        <a:pt x="118" y="1164"/>
                      </a:lnTo>
                      <a:lnTo>
                        <a:pt x="118" y="1151"/>
                      </a:lnTo>
                      <a:lnTo>
                        <a:pt x="112" y="1151"/>
                      </a:lnTo>
                      <a:lnTo>
                        <a:pt x="111" y="1143"/>
                      </a:lnTo>
                      <a:lnTo>
                        <a:pt x="105" y="1138"/>
                      </a:lnTo>
                      <a:lnTo>
                        <a:pt x="108" y="1131"/>
                      </a:lnTo>
                      <a:lnTo>
                        <a:pt x="99" y="1132"/>
                      </a:lnTo>
                      <a:lnTo>
                        <a:pt x="99" y="1125"/>
                      </a:lnTo>
                      <a:lnTo>
                        <a:pt x="97" y="1123"/>
                      </a:lnTo>
                      <a:lnTo>
                        <a:pt x="93" y="1130"/>
                      </a:lnTo>
                      <a:lnTo>
                        <a:pt x="91" y="1129"/>
                      </a:lnTo>
                      <a:lnTo>
                        <a:pt x="91" y="1118"/>
                      </a:lnTo>
                      <a:lnTo>
                        <a:pt x="87" y="1123"/>
                      </a:lnTo>
                      <a:lnTo>
                        <a:pt x="84" y="1120"/>
                      </a:lnTo>
                      <a:lnTo>
                        <a:pt x="83" y="1112"/>
                      </a:lnTo>
                      <a:lnTo>
                        <a:pt x="90" y="1087"/>
                      </a:lnTo>
                      <a:lnTo>
                        <a:pt x="107" y="1073"/>
                      </a:lnTo>
                      <a:lnTo>
                        <a:pt x="114" y="1063"/>
                      </a:lnTo>
                      <a:lnTo>
                        <a:pt x="120" y="1059"/>
                      </a:lnTo>
                      <a:lnTo>
                        <a:pt x="124" y="1062"/>
                      </a:lnTo>
                      <a:lnTo>
                        <a:pt x="134" y="1061"/>
                      </a:lnTo>
                      <a:lnTo>
                        <a:pt x="139" y="1064"/>
                      </a:lnTo>
                      <a:lnTo>
                        <a:pt x="141" y="1070"/>
                      </a:lnTo>
                      <a:lnTo>
                        <a:pt x="141" y="1063"/>
                      </a:lnTo>
                      <a:lnTo>
                        <a:pt x="137" y="1055"/>
                      </a:lnTo>
                      <a:lnTo>
                        <a:pt x="140" y="1052"/>
                      </a:lnTo>
                      <a:lnTo>
                        <a:pt x="147" y="1057"/>
                      </a:lnTo>
                      <a:lnTo>
                        <a:pt x="147" y="1050"/>
                      </a:lnTo>
                      <a:lnTo>
                        <a:pt x="154" y="1052"/>
                      </a:lnTo>
                      <a:lnTo>
                        <a:pt x="162" y="1045"/>
                      </a:lnTo>
                      <a:lnTo>
                        <a:pt x="167" y="1046"/>
                      </a:lnTo>
                      <a:lnTo>
                        <a:pt x="176" y="1041"/>
                      </a:lnTo>
                      <a:lnTo>
                        <a:pt x="222" y="1044"/>
                      </a:lnTo>
                      <a:close/>
                      <a:moveTo>
                        <a:pt x="304" y="1032"/>
                      </a:moveTo>
                      <a:lnTo>
                        <a:pt x="314" y="1038"/>
                      </a:lnTo>
                      <a:lnTo>
                        <a:pt x="327" y="1036"/>
                      </a:lnTo>
                      <a:lnTo>
                        <a:pt x="338" y="1049"/>
                      </a:lnTo>
                      <a:lnTo>
                        <a:pt x="338" y="1052"/>
                      </a:lnTo>
                      <a:lnTo>
                        <a:pt x="337" y="1058"/>
                      </a:lnTo>
                      <a:lnTo>
                        <a:pt x="318" y="1056"/>
                      </a:lnTo>
                      <a:lnTo>
                        <a:pt x="301" y="1078"/>
                      </a:lnTo>
                      <a:lnTo>
                        <a:pt x="299" y="1078"/>
                      </a:lnTo>
                      <a:lnTo>
                        <a:pt x="297" y="1075"/>
                      </a:lnTo>
                      <a:lnTo>
                        <a:pt x="283" y="1065"/>
                      </a:lnTo>
                      <a:lnTo>
                        <a:pt x="278" y="1043"/>
                      </a:lnTo>
                      <a:lnTo>
                        <a:pt x="273" y="1043"/>
                      </a:lnTo>
                      <a:lnTo>
                        <a:pt x="271" y="1033"/>
                      </a:lnTo>
                      <a:lnTo>
                        <a:pt x="275" y="1033"/>
                      </a:lnTo>
                      <a:lnTo>
                        <a:pt x="279" y="1037"/>
                      </a:lnTo>
                      <a:lnTo>
                        <a:pt x="281" y="1041"/>
                      </a:lnTo>
                      <a:lnTo>
                        <a:pt x="279" y="1044"/>
                      </a:lnTo>
                      <a:lnTo>
                        <a:pt x="282" y="1051"/>
                      </a:lnTo>
                      <a:lnTo>
                        <a:pt x="285" y="1051"/>
                      </a:lnTo>
                      <a:lnTo>
                        <a:pt x="286" y="1045"/>
                      </a:lnTo>
                      <a:lnTo>
                        <a:pt x="287" y="1045"/>
                      </a:lnTo>
                      <a:lnTo>
                        <a:pt x="296" y="1048"/>
                      </a:lnTo>
                      <a:lnTo>
                        <a:pt x="300" y="1054"/>
                      </a:lnTo>
                      <a:lnTo>
                        <a:pt x="303" y="1052"/>
                      </a:lnTo>
                      <a:lnTo>
                        <a:pt x="304" y="1047"/>
                      </a:lnTo>
                      <a:lnTo>
                        <a:pt x="303" y="1038"/>
                      </a:lnTo>
                      <a:lnTo>
                        <a:pt x="304" y="1032"/>
                      </a:lnTo>
                      <a:close/>
                      <a:moveTo>
                        <a:pt x="546" y="1041"/>
                      </a:moveTo>
                      <a:lnTo>
                        <a:pt x="552" y="1043"/>
                      </a:lnTo>
                      <a:lnTo>
                        <a:pt x="554" y="1044"/>
                      </a:lnTo>
                      <a:lnTo>
                        <a:pt x="568" y="1058"/>
                      </a:lnTo>
                      <a:lnTo>
                        <a:pt x="566" y="1062"/>
                      </a:lnTo>
                      <a:lnTo>
                        <a:pt x="574" y="1069"/>
                      </a:lnTo>
                      <a:lnTo>
                        <a:pt x="574" y="1078"/>
                      </a:lnTo>
                      <a:lnTo>
                        <a:pt x="582" y="1083"/>
                      </a:lnTo>
                      <a:lnTo>
                        <a:pt x="589" y="1084"/>
                      </a:lnTo>
                      <a:lnTo>
                        <a:pt x="591" y="1082"/>
                      </a:lnTo>
                      <a:lnTo>
                        <a:pt x="592" y="1078"/>
                      </a:lnTo>
                      <a:lnTo>
                        <a:pt x="593" y="1076"/>
                      </a:lnTo>
                      <a:lnTo>
                        <a:pt x="594" y="1061"/>
                      </a:lnTo>
                      <a:lnTo>
                        <a:pt x="600" y="1065"/>
                      </a:lnTo>
                      <a:lnTo>
                        <a:pt x="610" y="1061"/>
                      </a:lnTo>
                      <a:lnTo>
                        <a:pt x="618" y="1062"/>
                      </a:lnTo>
                      <a:lnTo>
                        <a:pt x="626" y="1068"/>
                      </a:lnTo>
                      <a:lnTo>
                        <a:pt x="624" y="1071"/>
                      </a:lnTo>
                      <a:lnTo>
                        <a:pt x="626" y="1084"/>
                      </a:lnTo>
                      <a:lnTo>
                        <a:pt x="630" y="1091"/>
                      </a:lnTo>
                      <a:lnTo>
                        <a:pt x="628" y="1095"/>
                      </a:lnTo>
                      <a:lnTo>
                        <a:pt x="638" y="1103"/>
                      </a:lnTo>
                      <a:lnTo>
                        <a:pt x="654" y="1107"/>
                      </a:lnTo>
                      <a:lnTo>
                        <a:pt x="661" y="1107"/>
                      </a:lnTo>
                      <a:lnTo>
                        <a:pt x="670" y="1110"/>
                      </a:lnTo>
                      <a:lnTo>
                        <a:pt x="678" y="1106"/>
                      </a:lnTo>
                      <a:lnTo>
                        <a:pt x="690" y="1110"/>
                      </a:lnTo>
                      <a:lnTo>
                        <a:pt x="704" y="1113"/>
                      </a:lnTo>
                      <a:lnTo>
                        <a:pt x="708" y="1132"/>
                      </a:lnTo>
                      <a:lnTo>
                        <a:pt x="725" y="1151"/>
                      </a:lnTo>
                      <a:lnTo>
                        <a:pt x="730" y="1164"/>
                      </a:lnTo>
                      <a:lnTo>
                        <a:pt x="727" y="1170"/>
                      </a:lnTo>
                      <a:lnTo>
                        <a:pt x="713" y="1176"/>
                      </a:lnTo>
                      <a:lnTo>
                        <a:pt x="708" y="1190"/>
                      </a:lnTo>
                      <a:lnTo>
                        <a:pt x="702" y="1197"/>
                      </a:lnTo>
                      <a:lnTo>
                        <a:pt x="682" y="1208"/>
                      </a:lnTo>
                      <a:lnTo>
                        <a:pt x="660" y="1240"/>
                      </a:lnTo>
                      <a:lnTo>
                        <a:pt x="650" y="1264"/>
                      </a:lnTo>
                      <a:lnTo>
                        <a:pt x="645" y="1272"/>
                      </a:lnTo>
                      <a:lnTo>
                        <a:pt x="629" y="1287"/>
                      </a:lnTo>
                      <a:lnTo>
                        <a:pt x="620" y="1304"/>
                      </a:lnTo>
                      <a:lnTo>
                        <a:pt x="615" y="1327"/>
                      </a:lnTo>
                      <a:lnTo>
                        <a:pt x="615" y="1344"/>
                      </a:lnTo>
                      <a:lnTo>
                        <a:pt x="622" y="1416"/>
                      </a:lnTo>
                      <a:lnTo>
                        <a:pt x="620" y="1431"/>
                      </a:lnTo>
                      <a:lnTo>
                        <a:pt x="590" y="1417"/>
                      </a:lnTo>
                      <a:lnTo>
                        <a:pt x="593" y="1411"/>
                      </a:lnTo>
                      <a:lnTo>
                        <a:pt x="593" y="1409"/>
                      </a:lnTo>
                      <a:lnTo>
                        <a:pt x="591" y="1410"/>
                      </a:lnTo>
                      <a:lnTo>
                        <a:pt x="591" y="1396"/>
                      </a:lnTo>
                      <a:lnTo>
                        <a:pt x="576" y="1364"/>
                      </a:lnTo>
                      <a:lnTo>
                        <a:pt x="565" y="1348"/>
                      </a:lnTo>
                      <a:lnTo>
                        <a:pt x="561" y="1336"/>
                      </a:lnTo>
                      <a:lnTo>
                        <a:pt x="568" y="1315"/>
                      </a:lnTo>
                      <a:lnTo>
                        <a:pt x="568" y="1305"/>
                      </a:lnTo>
                      <a:lnTo>
                        <a:pt x="580" y="1291"/>
                      </a:lnTo>
                      <a:lnTo>
                        <a:pt x="586" y="1278"/>
                      </a:lnTo>
                      <a:lnTo>
                        <a:pt x="584" y="1275"/>
                      </a:lnTo>
                      <a:lnTo>
                        <a:pt x="581" y="1276"/>
                      </a:lnTo>
                      <a:lnTo>
                        <a:pt x="563" y="1268"/>
                      </a:lnTo>
                      <a:lnTo>
                        <a:pt x="566" y="1254"/>
                      </a:lnTo>
                      <a:lnTo>
                        <a:pt x="571" y="1249"/>
                      </a:lnTo>
                      <a:lnTo>
                        <a:pt x="562" y="1237"/>
                      </a:lnTo>
                      <a:lnTo>
                        <a:pt x="559" y="1222"/>
                      </a:lnTo>
                      <a:lnTo>
                        <a:pt x="551" y="1213"/>
                      </a:lnTo>
                      <a:lnTo>
                        <a:pt x="545" y="1210"/>
                      </a:lnTo>
                      <a:lnTo>
                        <a:pt x="542" y="1201"/>
                      </a:lnTo>
                      <a:lnTo>
                        <a:pt x="530" y="1198"/>
                      </a:lnTo>
                      <a:lnTo>
                        <a:pt x="522" y="1190"/>
                      </a:lnTo>
                      <a:lnTo>
                        <a:pt x="521" y="1186"/>
                      </a:lnTo>
                      <a:lnTo>
                        <a:pt x="527" y="1181"/>
                      </a:lnTo>
                      <a:lnTo>
                        <a:pt x="532" y="1170"/>
                      </a:lnTo>
                      <a:lnTo>
                        <a:pt x="531" y="1165"/>
                      </a:lnTo>
                      <a:lnTo>
                        <a:pt x="526" y="1161"/>
                      </a:lnTo>
                      <a:lnTo>
                        <a:pt x="527" y="1155"/>
                      </a:lnTo>
                      <a:lnTo>
                        <a:pt x="515" y="1145"/>
                      </a:lnTo>
                      <a:lnTo>
                        <a:pt x="499" y="1143"/>
                      </a:lnTo>
                      <a:lnTo>
                        <a:pt x="501" y="1138"/>
                      </a:lnTo>
                      <a:lnTo>
                        <a:pt x="498" y="1130"/>
                      </a:lnTo>
                      <a:lnTo>
                        <a:pt x="496" y="1128"/>
                      </a:lnTo>
                      <a:lnTo>
                        <a:pt x="500" y="1118"/>
                      </a:lnTo>
                      <a:lnTo>
                        <a:pt x="494" y="1114"/>
                      </a:lnTo>
                      <a:lnTo>
                        <a:pt x="491" y="1103"/>
                      </a:lnTo>
                      <a:lnTo>
                        <a:pt x="492" y="1096"/>
                      </a:lnTo>
                      <a:lnTo>
                        <a:pt x="499" y="1088"/>
                      </a:lnTo>
                      <a:lnTo>
                        <a:pt x="499" y="1081"/>
                      </a:lnTo>
                      <a:lnTo>
                        <a:pt x="493" y="1071"/>
                      </a:lnTo>
                      <a:lnTo>
                        <a:pt x="472" y="1071"/>
                      </a:lnTo>
                      <a:lnTo>
                        <a:pt x="470" y="1068"/>
                      </a:lnTo>
                      <a:lnTo>
                        <a:pt x="479" y="1057"/>
                      </a:lnTo>
                      <a:lnTo>
                        <a:pt x="484" y="1060"/>
                      </a:lnTo>
                      <a:lnTo>
                        <a:pt x="488" y="1059"/>
                      </a:lnTo>
                      <a:lnTo>
                        <a:pt x="490" y="1054"/>
                      </a:lnTo>
                      <a:lnTo>
                        <a:pt x="485" y="1051"/>
                      </a:lnTo>
                      <a:lnTo>
                        <a:pt x="492" y="1040"/>
                      </a:lnTo>
                      <a:lnTo>
                        <a:pt x="505" y="1040"/>
                      </a:lnTo>
                      <a:lnTo>
                        <a:pt x="514" y="1046"/>
                      </a:lnTo>
                      <a:lnTo>
                        <a:pt x="524" y="1064"/>
                      </a:lnTo>
                      <a:lnTo>
                        <a:pt x="532" y="1063"/>
                      </a:lnTo>
                      <a:lnTo>
                        <a:pt x="536" y="1057"/>
                      </a:lnTo>
                      <a:lnTo>
                        <a:pt x="541" y="1041"/>
                      </a:lnTo>
                      <a:lnTo>
                        <a:pt x="536" y="1037"/>
                      </a:lnTo>
                      <a:lnTo>
                        <a:pt x="536" y="1033"/>
                      </a:lnTo>
                      <a:lnTo>
                        <a:pt x="541" y="1034"/>
                      </a:lnTo>
                      <a:lnTo>
                        <a:pt x="546" y="1041"/>
                      </a:lnTo>
                      <a:close/>
                      <a:moveTo>
                        <a:pt x="695" y="1039"/>
                      </a:moveTo>
                      <a:lnTo>
                        <a:pt x="693" y="1045"/>
                      </a:lnTo>
                      <a:lnTo>
                        <a:pt x="690" y="1045"/>
                      </a:lnTo>
                      <a:lnTo>
                        <a:pt x="692" y="1051"/>
                      </a:lnTo>
                      <a:lnTo>
                        <a:pt x="688" y="1047"/>
                      </a:lnTo>
                      <a:lnTo>
                        <a:pt x="679" y="1052"/>
                      </a:lnTo>
                      <a:lnTo>
                        <a:pt x="671" y="1047"/>
                      </a:lnTo>
                      <a:lnTo>
                        <a:pt x="695" y="1039"/>
                      </a:lnTo>
                      <a:close/>
                      <a:moveTo>
                        <a:pt x="365" y="1010"/>
                      </a:moveTo>
                      <a:lnTo>
                        <a:pt x="383" y="1013"/>
                      </a:lnTo>
                      <a:lnTo>
                        <a:pt x="393" y="1029"/>
                      </a:lnTo>
                      <a:lnTo>
                        <a:pt x="379" y="1045"/>
                      </a:lnTo>
                      <a:lnTo>
                        <a:pt x="377" y="1054"/>
                      </a:lnTo>
                      <a:lnTo>
                        <a:pt x="369" y="1043"/>
                      </a:lnTo>
                      <a:lnTo>
                        <a:pt x="363" y="1029"/>
                      </a:lnTo>
                      <a:lnTo>
                        <a:pt x="353" y="1021"/>
                      </a:lnTo>
                      <a:lnTo>
                        <a:pt x="356" y="1015"/>
                      </a:lnTo>
                      <a:lnTo>
                        <a:pt x="365" y="1010"/>
                      </a:lnTo>
                      <a:close/>
                      <a:moveTo>
                        <a:pt x="710" y="1013"/>
                      </a:moveTo>
                      <a:lnTo>
                        <a:pt x="702" y="1024"/>
                      </a:lnTo>
                      <a:lnTo>
                        <a:pt x="701" y="1030"/>
                      </a:lnTo>
                      <a:lnTo>
                        <a:pt x="696" y="1029"/>
                      </a:lnTo>
                      <a:lnTo>
                        <a:pt x="695" y="1033"/>
                      </a:lnTo>
                      <a:lnTo>
                        <a:pt x="694" y="1029"/>
                      </a:lnTo>
                      <a:lnTo>
                        <a:pt x="701" y="1021"/>
                      </a:lnTo>
                      <a:lnTo>
                        <a:pt x="699" y="1017"/>
                      </a:lnTo>
                      <a:lnTo>
                        <a:pt x="701" y="1014"/>
                      </a:lnTo>
                      <a:lnTo>
                        <a:pt x="706" y="1016"/>
                      </a:lnTo>
                      <a:lnTo>
                        <a:pt x="710" y="1013"/>
                      </a:lnTo>
                      <a:close/>
                      <a:moveTo>
                        <a:pt x="577" y="1012"/>
                      </a:moveTo>
                      <a:lnTo>
                        <a:pt x="579" y="1024"/>
                      </a:lnTo>
                      <a:lnTo>
                        <a:pt x="572" y="1020"/>
                      </a:lnTo>
                      <a:lnTo>
                        <a:pt x="566" y="1007"/>
                      </a:lnTo>
                      <a:lnTo>
                        <a:pt x="571" y="1004"/>
                      </a:lnTo>
                      <a:lnTo>
                        <a:pt x="575" y="1007"/>
                      </a:lnTo>
                      <a:lnTo>
                        <a:pt x="577" y="1012"/>
                      </a:lnTo>
                      <a:close/>
                      <a:moveTo>
                        <a:pt x="274" y="973"/>
                      </a:moveTo>
                      <a:lnTo>
                        <a:pt x="267" y="979"/>
                      </a:lnTo>
                      <a:lnTo>
                        <a:pt x="267" y="973"/>
                      </a:lnTo>
                      <a:lnTo>
                        <a:pt x="279" y="963"/>
                      </a:lnTo>
                      <a:lnTo>
                        <a:pt x="284" y="963"/>
                      </a:lnTo>
                      <a:lnTo>
                        <a:pt x="283" y="969"/>
                      </a:lnTo>
                      <a:lnTo>
                        <a:pt x="274" y="973"/>
                      </a:lnTo>
                      <a:close/>
                      <a:moveTo>
                        <a:pt x="770" y="945"/>
                      </a:moveTo>
                      <a:lnTo>
                        <a:pt x="759" y="969"/>
                      </a:lnTo>
                      <a:lnTo>
                        <a:pt x="748" y="962"/>
                      </a:lnTo>
                      <a:lnTo>
                        <a:pt x="742" y="962"/>
                      </a:lnTo>
                      <a:lnTo>
                        <a:pt x="738" y="956"/>
                      </a:lnTo>
                      <a:lnTo>
                        <a:pt x="748" y="954"/>
                      </a:lnTo>
                      <a:lnTo>
                        <a:pt x="754" y="946"/>
                      </a:lnTo>
                      <a:lnTo>
                        <a:pt x="758" y="944"/>
                      </a:lnTo>
                      <a:lnTo>
                        <a:pt x="764" y="942"/>
                      </a:lnTo>
                      <a:lnTo>
                        <a:pt x="771" y="943"/>
                      </a:lnTo>
                      <a:lnTo>
                        <a:pt x="770" y="945"/>
                      </a:lnTo>
                      <a:close/>
                      <a:moveTo>
                        <a:pt x="794" y="960"/>
                      </a:moveTo>
                      <a:lnTo>
                        <a:pt x="799" y="967"/>
                      </a:lnTo>
                      <a:lnTo>
                        <a:pt x="814" y="975"/>
                      </a:lnTo>
                      <a:lnTo>
                        <a:pt x="855" y="975"/>
                      </a:lnTo>
                      <a:lnTo>
                        <a:pt x="873" y="980"/>
                      </a:lnTo>
                      <a:lnTo>
                        <a:pt x="881" y="978"/>
                      </a:lnTo>
                      <a:lnTo>
                        <a:pt x="897" y="979"/>
                      </a:lnTo>
                      <a:lnTo>
                        <a:pt x="930" y="994"/>
                      </a:lnTo>
                      <a:lnTo>
                        <a:pt x="945" y="1021"/>
                      </a:lnTo>
                      <a:lnTo>
                        <a:pt x="948" y="1036"/>
                      </a:lnTo>
                      <a:lnTo>
                        <a:pt x="948" y="1042"/>
                      </a:lnTo>
                      <a:lnTo>
                        <a:pt x="941" y="1055"/>
                      </a:lnTo>
                      <a:lnTo>
                        <a:pt x="923" y="1058"/>
                      </a:lnTo>
                      <a:lnTo>
                        <a:pt x="900" y="1048"/>
                      </a:lnTo>
                      <a:lnTo>
                        <a:pt x="897" y="1045"/>
                      </a:lnTo>
                      <a:lnTo>
                        <a:pt x="872" y="1039"/>
                      </a:lnTo>
                      <a:lnTo>
                        <a:pt x="854" y="1036"/>
                      </a:lnTo>
                      <a:lnTo>
                        <a:pt x="839" y="1036"/>
                      </a:lnTo>
                      <a:lnTo>
                        <a:pt x="814" y="1047"/>
                      </a:lnTo>
                      <a:lnTo>
                        <a:pt x="796" y="1063"/>
                      </a:lnTo>
                      <a:lnTo>
                        <a:pt x="774" y="1089"/>
                      </a:lnTo>
                      <a:lnTo>
                        <a:pt x="768" y="1101"/>
                      </a:lnTo>
                      <a:lnTo>
                        <a:pt x="753" y="1118"/>
                      </a:lnTo>
                      <a:lnTo>
                        <a:pt x="738" y="1121"/>
                      </a:lnTo>
                      <a:lnTo>
                        <a:pt x="717" y="1118"/>
                      </a:lnTo>
                      <a:lnTo>
                        <a:pt x="706" y="1100"/>
                      </a:lnTo>
                      <a:lnTo>
                        <a:pt x="710" y="1099"/>
                      </a:lnTo>
                      <a:lnTo>
                        <a:pt x="713" y="1101"/>
                      </a:lnTo>
                      <a:lnTo>
                        <a:pt x="710" y="1103"/>
                      </a:lnTo>
                      <a:lnTo>
                        <a:pt x="717" y="1103"/>
                      </a:lnTo>
                      <a:lnTo>
                        <a:pt x="717" y="1100"/>
                      </a:lnTo>
                      <a:lnTo>
                        <a:pt x="721" y="1100"/>
                      </a:lnTo>
                      <a:lnTo>
                        <a:pt x="720" y="1099"/>
                      </a:lnTo>
                      <a:lnTo>
                        <a:pt x="697" y="1097"/>
                      </a:lnTo>
                      <a:lnTo>
                        <a:pt x="638" y="1078"/>
                      </a:lnTo>
                      <a:lnTo>
                        <a:pt x="633" y="1067"/>
                      </a:lnTo>
                      <a:lnTo>
                        <a:pt x="634" y="1059"/>
                      </a:lnTo>
                      <a:lnTo>
                        <a:pt x="627" y="1051"/>
                      </a:lnTo>
                      <a:lnTo>
                        <a:pt x="628" y="1046"/>
                      </a:lnTo>
                      <a:lnTo>
                        <a:pt x="632" y="1043"/>
                      </a:lnTo>
                      <a:lnTo>
                        <a:pt x="635" y="1045"/>
                      </a:lnTo>
                      <a:lnTo>
                        <a:pt x="635" y="1056"/>
                      </a:lnTo>
                      <a:lnTo>
                        <a:pt x="637" y="1063"/>
                      </a:lnTo>
                      <a:lnTo>
                        <a:pt x="641" y="1063"/>
                      </a:lnTo>
                      <a:lnTo>
                        <a:pt x="641" y="1067"/>
                      </a:lnTo>
                      <a:lnTo>
                        <a:pt x="648" y="1068"/>
                      </a:lnTo>
                      <a:lnTo>
                        <a:pt x="655" y="1062"/>
                      </a:lnTo>
                      <a:lnTo>
                        <a:pt x="675" y="1063"/>
                      </a:lnTo>
                      <a:lnTo>
                        <a:pt x="686" y="1074"/>
                      </a:lnTo>
                      <a:lnTo>
                        <a:pt x="679" y="1090"/>
                      </a:lnTo>
                      <a:lnTo>
                        <a:pt x="682" y="1088"/>
                      </a:lnTo>
                      <a:lnTo>
                        <a:pt x="683" y="1091"/>
                      </a:lnTo>
                      <a:lnTo>
                        <a:pt x="695" y="1095"/>
                      </a:lnTo>
                      <a:lnTo>
                        <a:pt x="705" y="1091"/>
                      </a:lnTo>
                      <a:lnTo>
                        <a:pt x="701" y="1084"/>
                      </a:lnTo>
                      <a:lnTo>
                        <a:pt x="698" y="1083"/>
                      </a:lnTo>
                      <a:lnTo>
                        <a:pt x="703" y="1068"/>
                      </a:lnTo>
                      <a:lnTo>
                        <a:pt x="719" y="1058"/>
                      </a:lnTo>
                      <a:lnTo>
                        <a:pt x="709" y="1054"/>
                      </a:lnTo>
                      <a:lnTo>
                        <a:pt x="706" y="1049"/>
                      </a:lnTo>
                      <a:lnTo>
                        <a:pt x="704" y="1042"/>
                      </a:lnTo>
                      <a:lnTo>
                        <a:pt x="719" y="1035"/>
                      </a:lnTo>
                      <a:lnTo>
                        <a:pt x="719" y="1033"/>
                      </a:lnTo>
                      <a:lnTo>
                        <a:pt x="729" y="1029"/>
                      </a:lnTo>
                      <a:lnTo>
                        <a:pt x="739" y="1033"/>
                      </a:lnTo>
                      <a:lnTo>
                        <a:pt x="740" y="1030"/>
                      </a:lnTo>
                      <a:lnTo>
                        <a:pt x="732" y="1021"/>
                      </a:lnTo>
                      <a:lnTo>
                        <a:pt x="731" y="1015"/>
                      </a:lnTo>
                      <a:lnTo>
                        <a:pt x="747" y="1021"/>
                      </a:lnTo>
                      <a:lnTo>
                        <a:pt x="750" y="1024"/>
                      </a:lnTo>
                      <a:lnTo>
                        <a:pt x="750" y="1030"/>
                      </a:lnTo>
                      <a:lnTo>
                        <a:pt x="753" y="1034"/>
                      </a:lnTo>
                      <a:lnTo>
                        <a:pt x="767" y="1026"/>
                      </a:lnTo>
                      <a:lnTo>
                        <a:pt x="780" y="1023"/>
                      </a:lnTo>
                      <a:lnTo>
                        <a:pt x="783" y="1019"/>
                      </a:lnTo>
                      <a:lnTo>
                        <a:pt x="793" y="1018"/>
                      </a:lnTo>
                      <a:lnTo>
                        <a:pt x="797" y="1021"/>
                      </a:lnTo>
                      <a:lnTo>
                        <a:pt x="792" y="1029"/>
                      </a:lnTo>
                      <a:lnTo>
                        <a:pt x="790" y="1036"/>
                      </a:lnTo>
                      <a:lnTo>
                        <a:pt x="787" y="1038"/>
                      </a:lnTo>
                      <a:lnTo>
                        <a:pt x="791" y="1040"/>
                      </a:lnTo>
                      <a:lnTo>
                        <a:pt x="794" y="1037"/>
                      </a:lnTo>
                      <a:lnTo>
                        <a:pt x="800" y="1036"/>
                      </a:lnTo>
                      <a:lnTo>
                        <a:pt x="812" y="1023"/>
                      </a:lnTo>
                      <a:lnTo>
                        <a:pt x="835" y="1017"/>
                      </a:lnTo>
                      <a:lnTo>
                        <a:pt x="836" y="1016"/>
                      </a:lnTo>
                      <a:lnTo>
                        <a:pt x="831" y="1014"/>
                      </a:lnTo>
                      <a:lnTo>
                        <a:pt x="812" y="1017"/>
                      </a:lnTo>
                      <a:lnTo>
                        <a:pt x="807" y="1015"/>
                      </a:lnTo>
                      <a:lnTo>
                        <a:pt x="805" y="1014"/>
                      </a:lnTo>
                      <a:lnTo>
                        <a:pt x="797" y="1020"/>
                      </a:lnTo>
                      <a:lnTo>
                        <a:pt x="794" y="1017"/>
                      </a:lnTo>
                      <a:lnTo>
                        <a:pt x="789" y="1003"/>
                      </a:lnTo>
                      <a:lnTo>
                        <a:pt x="796" y="992"/>
                      </a:lnTo>
                      <a:lnTo>
                        <a:pt x="796" y="986"/>
                      </a:lnTo>
                      <a:lnTo>
                        <a:pt x="787" y="972"/>
                      </a:lnTo>
                      <a:lnTo>
                        <a:pt x="783" y="969"/>
                      </a:lnTo>
                      <a:lnTo>
                        <a:pt x="784" y="967"/>
                      </a:lnTo>
                      <a:lnTo>
                        <a:pt x="780" y="963"/>
                      </a:lnTo>
                      <a:lnTo>
                        <a:pt x="776" y="964"/>
                      </a:lnTo>
                      <a:lnTo>
                        <a:pt x="776" y="966"/>
                      </a:lnTo>
                      <a:lnTo>
                        <a:pt x="770" y="965"/>
                      </a:lnTo>
                      <a:lnTo>
                        <a:pt x="767" y="960"/>
                      </a:lnTo>
                      <a:lnTo>
                        <a:pt x="768" y="954"/>
                      </a:lnTo>
                      <a:lnTo>
                        <a:pt x="779" y="949"/>
                      </a:lnTo>
                      <a:lnTo>
                        <a:pt x="784" y="942"/>
                      </a:lnTo>
                      <a:lnTo>
                        <a:pt x="789" y="947"/>
                      </a:lnTo>
                      <a:lnTo>
                        <a:pt x="794" y="960"/>
                      </a:lnTo>
                      <a:close/>
                      <a:moveTo>
                        <a:pt x="791" y="937"/>
                      </a:moveTo>
                      <a:lnTo>
                        <a:pt x="789" y="939"/>
                      </a:lnTo>
                      <a:lnTo>
                        <a:pt x="788" y="933"/>
                      </a:lnTo>
                      <a:lnTo>
                        <a:pt x="783" y="928"/>
                      </a:lnTo>
                      <a:lnTo>
                        <a:pt x="782" y="922"/>
                      </a:lnTo>
                      <a:lnTo>
                        <a:pt x="778" y="918"/>
                      </a:lnTo>
                      <a:lnTo>
                        <a:pt x="782" y="919"/>
                      </a:lnTo>
                      <a:lnTo>
                        <a:pt x="786" y="923"/>
                      </a:lnTo>
                      <a:lnTo>
                        <a:pt x="784" y="925"/>
                      </a:lnTo>
                      <a:lnTo>
                        <a:pt x="790" y="928"/>
                      </a:lnTo>
                      <a:lnTo>
                        <a:pt x="791" y="937"/>
                      </a:lnTo>
                      <a:close/>
                      <a:moveTo>
                        <a:pt x="704" y="873"/>
                      </a:moveTo>
                      <a:lnTo>
                        <a:pt x="697" y="876"/>
                      </a:lnTo>
                      <a:lnTo>
                        <a:pt x="690" y="875"/>
                      </a:lnTo>
                      <a:lnTo>
                        <a:pt x="697" y="872"/>
                      </a:lnTo>
                      <a:lnTo>
                        <a:pt x="704" y="873"/>
                      </a:lnTo>
                      <a:close/>
                      <a:moveTo>
                        <a:pt x="484" y="867"/>
                      </a:moveTo>
                      <a:lnTo>
                        <a:pt x="477" y="881"/>
                      </a:lnTo>
                      <a:lnTo>
                        <a:pt x="474" y="868"/>
                      </a:lnTo>
                      <a:lnTo>
                        <a:pt x="478" y="857"/>
                      </a:lnTo>
                      <a:lnTo>
                        <a:pt x="481" y="858"/>
                      </a:lnTo>
                      <a:lnTo>
                        <a:pt x="478" y="862"/>
                      </a:lnTo>
                      <a:lnTo>
                        <a:pt x="484" y="867"/>
                      </a:lnTo>
                      <a:close/>
                      <a:moveTo>
                        <a:pt x="173" y="834"/>
                      </a:moveTo>
                      <a:lnTo>
                        <a:pt x="174" y="838"/>
                      </a:lnTo>
                      <a:lnTo>
                        <a:pt x="165" y="846"/>
                      </a:lnTo>
                      <a:lnTo>
                        <a:pt x="158" y="864"/>
                      </a:lnTo>
                      <a:lnTo>
                        <a:pt x="149" y="845"/>
                      </a:lnTo>
                      <a:lnTo>
                        <a:pt x="163" y="833"/>
                      </a:lnTo>
                      <a:lnTo>
                        <a:pt x="165" y="835"/>
                      </a:lnTo>
                      <a:lnTo>
                        <a:pt x="174" y="829"/>
                      </a:lnTo>
                      <a:lnTo>
                        <a:pt x="173" y="834"/>
                      </a:lnTo>
                      <a:close/>
                      <a:moveTo>
                        <a:pt x="456" y="826"/>
                      </a:moveTo>
                      <a:lnTo>
                        <a:pt x="456" y="843"/>
                      </a:lnTo>
                      <a:lnTo>
                        <a:pt x="464" y="848"/>
                      </a:lnTo>
                      <a:lnTo>
                        <a:pt x="467" y="853"/>
                      </a:lnTo>
                      <a:lnTo>
                        <a:pt x="469" y="852"/>
                      </a:lnTo>
                      <a:lnTo>
                        <a:pt x="473" y="855"/>
                      </a:lnTo>
                      <a:lnTo>
                        <a:pt x="474" y="860"/>
                      </a:lnTo>
                      <a:lnTo>
                        <a:pt x="471" y="860"/>
                      </a:lnTo>
                      <a:lnTo>
                        <a:pt x="457" y="845"/>
                      </a:lnTo>
                      <a:lnTo>
                        <a:pt x="446" y="842"/>
                      </a:lnTo>
                      <a:lnTo>
                        <a:pt x="438" y="829"/>
                      </a:lnTo>
                      <a:lnTo>
                        <a:pt x="441" y="828"/>
                      </a:lnTo>
                      <a:lnTo>
                        <a:pt x="447" y="831"/>
                      </a:lnTo>
                      <a:lnTo>
                        <a:pt x="452" y="826"/>
                      </a:lnTo>
                      <a:lnTo>
                        <a:pt x="456" y="826"/>
                      </a:lnTo>
                      <a:close/>
                      <a:moveTo>
                        <a:pt x="342" y="812"/>
                      </a:moveTo>
                      <a:lnTo>
                        <a:pt x="339" y="812"/>
                      </a:lnTo>
                      <a:lnTo>
                        <a:pt x="341" y="808"/>
                      </a:lnTo>
                      <a:lnTo>
                        <a:pt x="348" y="806"/>
                      </a:lnTo>
                      <a:lnTo>
                        <a:pt x="349" y="808"/>
                      </a:lnTo>
                      <a:lnTo>
                        <a:pt x="342" y="812"/>
                      </a:lnTo>
                      <a:close/>
                      <a:moveTo>
                        <a:pt x="479" y="821"/>
                      </a:moveTo>
                      <a:lnTo>
                        <a:pt x="476" y="833"/>
                      </a:lnTo>
                      <a:lnTo>
                        <a:pt x="470" y="831"/>
                      </a:lnTo>
                      <a:lnTo>
                        <a:pt x="462" y="833"/>
                      </a:lnTo>
                      <a:lnTo>
                        <a:pt x="460" y="830"/>
                      </a:lnTo>
                      <a:lnTo>
                        <a:pt x="463" y="816"/>
                      </a:lnTo>
                      <a:lnTo>
                        <a:pt x="468" y="810"/>
                      </a:lnTo>
                      <a:lnTo>
                        <a:pt x="468" y="803"/>
                      </a:lnTo>
                      <a:lnTo>
                        <a:pt x="471" y="802"/>
                      </a:lnTo>
                      <a:lnTo>
                        <a:pt x="476" y="807"/>
                      </a:lnTo>
                      <a:lnTo>
                        <a:pt x="486" y="809"/>
                      </a:lnTo>
                      <a:lnTo>
                        <a:pt x="479" y="821"/>
                      </a:lnTo>
                      <a:close/>
                      <a:moveTo>
                        <a:pt x="180" y="766"/>
                      </a:moveTo>
                      <a:lnTo>
                        <a:pt x="176" y="769"/>
                      </a:lnTo>
                      <a:lnTo>
                        <a:pt x="173" y="767"/>
                      </a:lnTo>
                      <a:lnTo>
                        <a:pt x="172" y="770"/>
                      </a:lnTo>
                      <a:lnTo>
                        <a:pt x="174" y="770"/>
                      </a:lnTo>
                      <a:lnTo>
                        <a:pt x="173" y="775"/>
                      </a:lnTo>
                      <a:lnTo>
                        <a:pt x="182" y="783"/>
                      </a:lnTo>
                      <a:lnTo>
                        <a:pt x="184" y="796"/>
                      </a:lnTo>
                      <a:lnTo>
                        <a:pt x="189" y="807"/>
                      </a:lnTo>
                      <a:lnTo>
                        <a:pt x="188" y="811"/>
                      </a:lnTo>
                      <a:lnTo>
                        <a:pt x="184" y="809"/>
                      </a:lnTo>
                      <a:lnTo>
                        <a:pt x="184" y="811"/>
                      </a:lnTo>
                      <a:lnTo>
                        <a:pt x="192" y="816"/>
                      </a:lnTo>
                      <a:lnTo>
                        <a:pt x="197" y="807"/>
                      </a:lnTo>
                      <a:lnTo>
                        <a:pt x="195" y="819"/>
                      </a:lnTo>
                      <a:lnTo>
                        <a:pt x="193" y="821"/>
                      </a:lnTo>
                      <a:lnTo>
                        <a:pt x="171" y="807"/>
                      </a:lnTo>
                      <a:lnTo>
                        <a:pt x="169" y="775"/>
                      </a:lnTo>
                      <a:lnTo>
                        <a:pt x="172" y="764"/>
                      </a:lnTo>
                      <a:lnTo>
                        <a:pt x="169" y="757"/>
                      </a:lnTo>
                      <a:lnTo>
                        <a:pt x="171" y="755"/>
                      </a:lnTo>
                      <a:lnTo>
                        <a:pt x="177" y="759"/>
                      </a:lnTo>
                      <a:lnTo>
                        <a:pt x="180" y="766"/>
                      </a:lnTo>
                      <a:close/>
                      <a:moveTo>
                        <a:pt x="67" y="667"/>
                      </a:moveTo>
                      <a:lnTo>
                        <a:pt x="60" y="672"/>
                      </a:lnTo>
                      <a:lnTo>
                        <a:pt x="69" y="671"/>
                      </a:lnTo>
                      <a:lnTo>
                        <a:pt x="42" y="682"/>
                      </a:lnTo>
                      <a:lnTo>
                        <a:pt x="58" y="668"/>
                      </a:lnTo>
                      <a:lnTo>
                        <a:pt x="67" y="666"/>
                      </a:lnTo>
                      <a:lnTo>
                        <a:pt x="67" y="667"/>
                      </a:lnTo>
                      <a:close/>
                      <a:moveTo>
                        <a:pt x="838" y="412"/>
                      </a:moveTo>
                      <a:lnTo>
                        <a:pt x="841" y="415"/>
                      </a:lnTo>
                      <a:lnTo>
                        <a:pt x="841" y="415"/>
                      </a:lnTo>
                      <a:lnTo>
                        <a:pt x="836" y="418"/>
                      </a:lnTo>
                      <a:lnTo>
                        <a:pt x="835" y="415"/>
                      </a:lnTo>
                      <a:lnTo>
                        <a:pt x="836" y="413"/>
                      </a:lnTo>
                      <a:lnTo>
                        <a:pt x="838" y="412"/>
                      </a:lnTo>
                      <a:close/>
                      <a:moveTo>
                        <a:pt x="243" y="240"/>
                      </a:moveTo>
                      <a:lnTo>
                        <a:pt x="245" y="244"/>
                      </a:lnTo>
                      <a:lnTo>
                        <a:pt x="238" y="239"/>
                      </a:lnTo>
                      <a:lnTo>
                        <a:pt x="231" y="224"/>
                      </a:lnTo>
                      <a:lnTo>
                        <a:pt x="233" y="214"/>
                      </a:lnTo>
                      <a:lnTo>
                        <a:pt x="239" y="220"/>
                      </a:lnTo>
                      <a:lnTo>
                        <a:pt x="236" y="225"/>
                      </a:lnTo>
                      <a:lnTo>
                        <a:pt x="244" y="234"/>
                      </a:lnTo>
                      <a:lnTo>
                        <a:pt x="243" y="240"/>
                      </a:lnTo>
                      <a:close/>
                      <a:moveTo>
                        <a:pt x="550" y="227"/>
                      </a:moveTo>
                      <a:lnTo>
                        <a:pt x="549" y="235"/>
                      </a:lnTo>
                      <a:lnTo>
                        <a:pt x="543" y="249"/>
                      </a:lnTo>
                      <a:lnTo>
                        <a:pt x="545" y="254"/>
                      </a:lnTo>
                      <a:lnTo>
                        <a:pt x="532" y="260"/>
                      </a:lnTo>
                      <a:lnTo>
                        <a:pt x="525" y="253"/>
                      </a:lnTo>
                      <a:lnTo>
                        <a:pt x="519" y="252"/>
                      </a:lnTo>
                      <a:lnTo>
                        <a:pt x="510" y="227"/>
                      </a:lnTo>
                      <a:lnTo>
                        <a:pt x="512" y="224"/>
                      </a:lnTo>
                      <a:lnTo>
                        <a:pt x="518" y="224"/>
                      </a:lnTo>
                      <a:lnTo>
                        <a:pt x="523" y="218"/>
                      </a:lnTo>
                      <a:lnTo>
                        <a:pt x="527" y="225"/>
                      </a:lnTo>
                      <a:lnTo>
                        <a:pt x="533" y="227"/>
                      </a:lnTo>
                      <a:lnTo>
                        <a:pt x="540" y="212"/>
                      </a:lnTo>
                      <a:lnTo>
                        <a:pt x="535" y="205"/>
                      </a:lnTo>
                      <a:lnTo>
                        <a:pt x="539" y="201"/>
                      </a:lnTo>
                      <a:lnTo>
                        <a:pt x="548" y="213"/>
                      </a:lnTo>
                      <a:lnTo>
                        <a:pt x="550" y="227"/>
                      </a:lnTo>
                      <a:close/>
                      <a:moveTo>
                        <a:pt x="167" y="122"/>
                      </a:moveTo>
                      <a:lnTo>
                        <a:pt x="181" y="139"/>
                      </a:lnTo>
                      <a:lnTo>
                        <a:pt x="194" y="146"/>
                      </a:lnTo>
                      <a:lnTo>
                        <a:pt x="196" y="155"/>
                      </a:lnTo>
                      <a:lnTo>
                        <a:pt x="189" y="149"/>
                      </a:lnTo>
                      <a:lnTo>
                        <a:pt x="161" y="140"/>
                      </a:lnTo>
                      <a:lnTo>
                        <a:pt x="154" y="134"/>
                      </a:lnTo>
                      <a:lnTo>
                        <a:pt x="139" y="113"/>
                      </a:lnTo>
                      <a:lnTo>
                        <a:pt x="121" y="105"/>
                      </a:lnTo>
                      <a:lnTo>
                        <a:pt x="117" y="91"/>
                      </a:lnTo>
                      <a:lnTo>
                        <a:pt x="139" y="98"/>
                      </a:lnTo>
                      <a:lnTo>
                        <a:pt x="143" y="106"/>
                      </a:lnTo>
                      <a:lnTo>
                        <a:pt x="156" y="113"/>
                      </a:lnTo>
                      <a:lnTo>
                        <a:pt x="167" y="122"/>
                      </a:lnTo>
                      <a:close/>
                      <a:moveTo>
                        <a:pt x="270" y="31"/>
                      </a:moveTo>
                      <a:lnTo>
                        <a:pt x="289" y="42"/>
                      </a:lnTo>
                      <a:lnTo>
                        <a:pt x="310" y="48"/>
                      </a:lnTo>
                      <a:lnTo>
                        <a:pt x="345" y="49"/>
                      </a:lnTo>
                      <a:lnTo>
                        <a:pt x="368" y="58"/>
                      </a:lnTo>
                      <a:lnTo>
                        <a:pt x="406" y="48"/>
                      </a:lnTo>
                      <a:lnTo>
                        <a:pt x="416" y="64"/>
                      </a:lnTo>
                      <a:lnTo>
                        <a:pt x="430" y="70"/>
                      </a:lnTo>
                      <a:lnTo>
                        <a:pt x="440" y="70"/>
                      </a:lnTo>
                      <a:lnTo>
                        <a:pt x="467" y="61"/>
                      </a:lnTo>
                      <a:lnTo>
                        <a:pt x="478" y="55"/>
                      </a:lnTo>
                      <a:lnTo>
                        <a:pt x="493" y="43"/>
                      </a:lnTo>
                      <a:lnTo>
                        <a:pt x="511" y="33"/>
                      </a:lnTo>
                      <a:lnTo>
                        <a:pt x="518" y="52"/>
                      </a:lnTo>
                      <a:lnTo>
                        <a:pt x="519" y="60"/>
                      </a:lnTo>
                      <a:lnTo>
                        <a:pt x="517" y="61"/>
                      </a:lnTo>
                      <a:lnTo>
                        <a:pt x="517" y="57"/>
                      </a:lnTo>
                      <a:lnTo>
                        <a:pt x="512" y="56"/>
                      </a:lnTo>
                      <a:lnTo>
                        <a:pt x="498" y="69"/>
                      </a:lnTo>
                      <a:lnTo>
                        <a:pt x="495" y="86"/>
                      </a:lnTo>
                      <a:lnTo>
                        <a:pt x="498" y="98"/>
                      </a:lnTo>
                      <a:lnTo>
                        <a:pt x="497" y="105"/>
                      </a:lnTo>
                      <a:lnTo>
                        <a:pt x="487" y="111"/>
                      </a:lnTo>
                      <a:lnTo>
                        <a:pt x="473" y="106"/>
                      </a:lnTo>
                      <a:lnTo>
                        <a:pt x="471" y="97"/>
                      </a:lnTo>
                      <a:lnTo>
                        <a:pt x="465" y="95"/>
                      </a:lnTo>
                      <a:lnTo>
                        <a:pt x="461" y="98"/>
                      </a:lnTo>
                      <a:lnTo>
                        <a:pt x="456" y="95"/>
                      </a:lnTo>
                      <a:lnTo>
                        <a:pt x="453" y="98"/>
                      </a:lnTo>
                      <a:lnTo>
                        <a:pt x="448" y="115"/>
                      </a:lnTo>
                      <a:lnTo>
                        <a:pt x="450" y="128"/>
                      </a:lnTo>
                      <a:lnTo>
                        <a:pt x="462" y="136"/>
                      </a:lnTo>
                      <a:lnTo>
                        <a:pt x="472" y="149"/>
                      </a:lnTo>
                      <a:lnTo>
                        <a:pt x="475" y="159"/>
                      </a:lnTo>
                      <a:lnTo>
                        <a:pt x="485" y="173"/>
                      </a:lnTo>
                      <a:lnTo>
                        <a:pt x="487" y="190"/>
                      </a:lnTo>
                      <a:lnTo>
                        <a:pt x="475" y="204"/>
                      </a:lnTo>
                      <a:lnTo>
                        <a:pt x="473" y="200"/>
                      </a:lnTo>
                      <a:lnTo>
                        <a:pt x="447" y="192"/>
                      </a:lnTo>
                      <a:lnTo>
                        <a:pt x="439" y="202"/>
                      </a:lnTo>
                      <a:lnTo>
                        <a:pt x="443" y="207"/>
                      </a:lnTo>
                      <a:lnTo>
                        <a:pt x="438" y="209"/>
                      </a:lnTo>
                      <a:lnTo>
                        <a:pt x="438" y="216"/>
                      </a:lnTo>
                      <a:lnTo>
                        <a:pt x="417" y="225"/>
                      </a:lnTo>
                      <a:lnTo>
                        <a:pt x="416" y="230"/>
                      </a:lnTo>
                      <a:lnTo>
                        <a:pt x="429" y="238"/>
                      </a:lnTo>
                      <a:lnTo>
                        <a:pt x="440" y="237"/>
                      </a:lnTo>
                      <a:lnTo>
                        <a:pt x="450" y="234"/>
                      </a:lnTo>
                      <a:lnTo>
                        <a:pt x="457" y="226"/>
                      </a:lnTo>
                      <a:lnTo>
                        <a:pt x="464" y="225"/>
                      </a:lnTo>
                      <a:lnTo>
                        <a:pt x="469" y="220"/>
                      </a:lnTo>
                      <a:lnTo>
                        <a:pt x="479" y="219"/>
                      </a:lnTo>
                      <a:lnTo>
                        <a:pt x="486" y="214"/>
                      </a:lnTo>
                      <a:lnTo>
                        <a:pt x="493" y="221"/>
                      </a:lnTo>
                      <a:lnTo>
                        <a:pt x="495" y="236"/>
                      </a:lnTo>
                      <a:lnTo>
                        <a:pt x="502" y="244"/>
                      </a:lnTo>
                      <a:lnTo>
                        <a:pt x="498" y="248"/>
                      </a:lnTo>
                      <a:lnTo>
                        <a:pt x="496" y="239"/>
                      </a:lnTo>
                      <a:lnTo>
                        <a:pt x="491" y="246"/>
                      </a:lnTo>
                      <a:lnTo>
                        <a:pt x="495" y="254"/>
                      </a:lnTo>
                      <a:lnTo>
                        <a:pt x="507" y="259"/>
                      </a:lnTo>
                      <a:lnTo>
                        <a:pt x="507" y="266"/>
                      </a:lnTo>
                      <a:lnTo>
                        <a:pt x="503" y="265"/>
                      </a:lnTo>
                      <a:lnTo>
                        <a:pt x="495" y="271"/>
                      </a:lnTo>
                      <a:lnTo>
                        <a:pt x="486" y="271"/>
                      </a:lnTo>
                      <a:lnTo>
                        <a:pt x="479" y="274"/>
                      </a:lnTo>
                      <a:lnTo>
                        <a:pt x="446" y="276"/>
                      </a:lnTo>
                      <a:lnTo>
                        <a:pt x="441" y="279"/>
                      </a:lnTo>
                      <a:lnTo>
                        <a:pt x="444" y="285"/>
                      </a:lnTo>
                      <a:lnTo>
                        <a:pt x="441" y="286"/>
                      </a:lnTo>
                      <a:lnTo>
                        <a:pt x="441" y="289"/>
                      </a:lnTo>
                      <a:lnTo>
                        <a:pt x="447" y="290"/>
                      </a:lnTo>
                      <a:lnTo>
                        <a:pt x="447" y="294"/>
                      </a:lnTo>
                      <a:lnTo>
                        <a:pt x="471" y="290"/>
                      </a:lnTo>
                      <a:lnTo>
                        <a:pt x="475" y="288"/>
                      </a:lnTo>
                      <a:lnTo>
                        <a:pt x="479" y="290"/>
                      </a:lnTo>
                      <a:lnTo>
                        <a:pt x="483" y="289"/>
                      </a:lnTo>
                      <a:lnTo>
                        <a:pt x="489" y="290"/>
                      </a:lnTo>
                      <a:lnTo>
                        <a:pt x="496" y="287"/>
                      </a:lnTo>
                      <a:lnTo>
                        <a:pt x="507" y="289"/>
                      </a:lnTo>
                      <a:lnTo>
                        <a:pt x="510" y="284"/>
                      </a:lnTo>
                      <a:lnTo>
                        <a:pt x="504" y="281"/>
                      </a:lnTo>
                      <a:lnTo>
                        <a:pt x="504" y="278"/>
                      </a:lnTo>
                      <a:lnTo>
                        <a:pt x="505" y="277"/>
                      </a:lnTo>
                      <a:lnTo>
                        <a:pt x="508" y="279"/>
                      </a:lnTo>
                      <a:lnTo>
                        <a:pt x="515" y="286"/>
                      </a:lnTo>
                      <a:lnTo>
                        <a:pt x="520" y="297"/>
                      </a:lnTo>
                      <a:lnTo>
                        <a:pt x="519" y="311"/>
                      </a:lnTo>
                      <a:lnTo>
                        <a:pt x="522" y="314"/>
                      </a:lnTo>
                      <a:lnTo>
                        <a:pt x="526" y="313"/>
                      </a:lnTo>
                      <a:lnTo>
                        <a:pt x="528" y="323"/>
                      </a:lnTo>
                      <a:lnTo>
                        <a:pt x="525" y="327"/>
                      </a:lnTo>
                      <a:lnTo>
                        <a:pt x="518" y="328"/>
                      </a:lnTo>
                      <a:lnTo>
                        <a:pt x="518" y="339"/>
                      </a:lnTo>
                      <a:lnTo>
                        <a:pt x="511" y="341"/>
                      </a:lnTo>
                      <a:lnTo>
                        <a:pt x="507" y="349"/>
                      </a:lnTo>
                      <a:lnTo>
                        <a:pt x="508" y="351"/>
                      </a:lnTo>
                      <a:lnTo>
                        <a:pt x="514" y="351"/>
                      </a:lnTo>
                      <a:lnTo>
                        <a:pt x="518" y="350"/>
                      </a:lnTo>
                      <a:lnTo>
                        <a:pt x="523" y="347"/>
                      </a:lnTo>
                      <a:lnTo>
                        <a:pt x="526" y="349"/>
                      </a:lnTo>
                      <a:lnTo>
                        <a:pt x="530" y="345"/>
                      </a:lnTo>
                      <a:lnTo>
                        <a:pt x="531" y="336"/>
                      </a:lnTo>
                      <a:lnTo>
                        <a:pt x="542" y="329"/>
                      </a:lnTo>
                      <a:lnTo>
                        <a:pt x="545" y="327"/>
                      </a:lnTo>
                      <a:lnTo>
                        <a:pt x="547" y="303"/>
                      </a:lnTo>
                      <a:lnTo>
                        <a:pt x="556" y="279"/>
                      </a:lnTo>
                      <a:lnTo>
                        <a:pt x="561" y="278"/>
                      </a:lnTo>
                      <a:lnTo>
                        <a:pt x="567" y="273"/>
                      </a:lnTo>
                      <a:lnTo>
                        <a:pt x="567" y="273"/>
                      </a:lnTo>
                      <a:lnTo>
                        <a:pt x="583" y="279"/>
                      </a:lnTo>
                      <a:lnTo>
                        <a:pt x="599" y="265"/>
                      </a:lnTo>
                      <a:lnTo>
                        <a:pt x="626" y="280"/>
                      </a:lnTo>
                      <a:lnTo>
                        <a:pt x="626" y="280"/>
                      </a:lnTo>
                      <a:lnTo>
                        <a:pt x="626" y="294"/>
                      </a:lnTo>
                      <a:lnTo>
                        <a:pt x="622" y="297"/>
                      </a:lnTo>
                      <a:lnTo>
                        <a:pt x="616" y="315"/>
                      </a:lnTo>
                      <a:lnTo>
                        <a:pt x="614" y="316"/>
                      </a:lnTo>
                      <a:lnTo>
                        <a:pt x="605" y="331"/>
                      </a:lnTo>
                      <a:lnTo>
                        <a:pt x="602" y="344"/>
                      </a:lnTo>
                      <a:lnTo>
                        <a:pt x="599" y="345"/>
                      </a:lnTo>
                      <a:lnTo>
                        <a:pt x="598" y="348"/>
                      </a:lnTo>
                      <a:lnTo>
                        <a:pt x="596" y="356"/>
                      </a:lnTo>
                      <a:lnTo>
                        <a:pt x="599" y="363"/>
                      </a:lnTo>
                      <a:lnTo>
                        <a:pt x="604" y="349"/>
                      </a:lnTo>
                      <a:lnTo>
                        <a:pt x="610" y="346"/>
                      </a:lnTo>
                      <a:lnTo>
                        <a:pt x="608" y="344"/>
                      </a:lnTo>
                      <a:lnTo>
                        <a:pt x="610" y="334"/>
                      </a:lnTo>
                      <a:lnTo>
                        <a:pt x="635" y="332"/>
                      </a:lnTo>
                      <a:lnTo>
                        <a:pt x="631" y="327"/>
                      </a:lnTo>
                      <a:lnTo>
                        <a:pt x="631" y="320"/>
                      </a:lnTo>
                      <a:lnTo>
                        <a:pt x="626" y="317"/>
                      </a:lnTo>
                      <a:lnTo>
                        <a:pt x="632" y="313"/>
                      </a:lnTo>
                      <a:lnTo>
                        <a:pt x="631" y="303"/>
                      </a:lnTo>
                      <a:lnTo>
                        <a:pt x="634" y="308"/>
                      </a:lnTo>
                      <a:lnTo>
                        <a:pt x="641" y="305"/>
                      </a:lnTo>
                      <a:lnTo>
                        <a:pt x="635" y="315"/>
                      </a:lnTo>
                      <a:lnTo>
                        <a:pt x="636" y="318"/>
                      </a:lnTo>
                      <a:lnTo>
                        <a:pt x="640" y="319"/>
                      </a:lnTo>
                      <a:lnTo>
                        <a:pt x="644" y="314"/>
                      </a:lnTo>
                      <a:lnTo>
                        <a:pt x="647" y="317"/>
                      </a:lnTo>
                      <a:lnTo>
                        <a:pt x="655" y="315"/>
                      </a:lnTo>
                      <a:lnTo>
                        <a:pt x="662" y="320"/>
                      </a:lnTo>
                      <a:lnTo>
                        <a:pt x="660" y="325"/>
                      </a:lnTo>
                      <a:lnTo>
                        <a:pt x="664" y="325"/>
                      </a:lnTo>
                      <a:lnTo>
                        <a:pt x="667" y="329"/>
                      </a:lnTo>
                      <a:lnTo>
                        <a:pt x="665" y="332"/>
                      </a:lnTo>
                      <a:lnTo>
                        <a:pt x="658" y="328"/>
                      </a:lnTo>
                      <a:lnTo>
                        <a:pt x="650" y="329"/>
                      </a:lnTo>
                      <a:lnTo>
                        <a:pt x="644" y="323"/>
                      </a:lnTo>
                      <a:lnTo>
                        <a:pt x="635" y="321"/>
                      </a:lnTo>
                      <a:lnTo>
                        <a:pt x="634" y="325"/>
                      </a:lnTo>
                      <a:lnTo>
                        <a:pt x="639" y="325"/>
                      </a:lnTo>
                      <a:lnTo>
                        <a:pt x="643" y="336"/>
                      </a:lnTo>
                      <a:lnTo>
                        <a:pt x="640" y="342"/>
                      </a:lnTo>
                      <a:lnTo>
                        <a:pt x="646" y="339"/>
                      </a:lnTo>
                      <a:lnTo>
                        <a:pt x="649" y="339"/>
                      </a:lnTo>
                      <a:lnTo>
                        <a:pt x="650" y="342"/>
                      </a:lnTo>
                      <a:lnTo>
                        <a:pt x="654" y="342"/>
                      </a:lnTo>
                      <a:lnTo>
                        <a:pt x="657" y="339"/>
                      </a:lnTo>
                      <a:lnTo>
                        <a:pt x="661" y="342"/>
                      </a:lnTo>
                      <a:lnTo>
                        <a:pt x="663" y="338"/>
                      </a:lnTo>
                      <a:lnTo>
                        <a:pt x="670" y="337"/>
                      </a:lnTo>
                      <a:lnTo>
                        <a:pt x="669" y="341"/>
                      </a:lnTo>
                      <a:lnTo>
                        <a:pt x="672" y="343"/>
                      </a:lnTo>
                      <a:lnTo>
                        <a:pt x="668" y="347"/>
                      </a:lnTo>
                      <a:lnTo>
                        <a:pt x="668" y="353"/>
                      </a:lnTo>
                      <a:lnTo>
                        <a:pt x="676" y="354"/>
                      </a:lnTo>
                      <a:lnTo>
                        <a:pt x="682" y="360"/>
                      </a:lnTo>
                      <a:lnTo>
                        <a:pt x="685" y="356"/>
                      </a:lnTo>
                      <a:lnTo>
                        <a:pt x="688" y="340"/>
                      </a:lnTo>
                      <a:lnTo>
                        <a:pt x="683" y="341"/>
                      </a:lnTo>
                      <a:lnTo>
                        <a:pt x="678" y="336"/>
                      </a:lnTo>
                      <a:lnTo>
                        <a:pt x="676" y="330"/>
                      </a:lnTo>
                      <a:lnTo>
                        <a:pt x="681" y="322"/>
                      </a:lnTo>
                      <a:lnTo>
                        <a:pt x="685" y="321"/>
                      </a:lnTo>
                      <a:lnTo>
                        <a:pt x="688" y="326"/>
                      </a:lnTo>
                      <a:lnTo>
                        <a:pt x="690" y="318"/>
                      </a:lnTo>
                      <a:lnTo>
                        <a:pt x="683" y="319"/>
                      </a:lnTo>
                      <a:lnTo>
                        <a:pt x="683" y="316"/>
                      </a:lnTo>
                      <a:lnTo>
                        <a:pt x="685" y="314"/>
                      </a:lnTo>
                      <a:lnTo>
                        <a:pt x="692" y="315"/>
                      </a:lnTo>
                      <a:lnTo>
                        <a:pt x="698" y="308"/>
                      </a:lnTo>
                      <a:lnTo>
                        <a:pt x="700" y="301"/>
                      </a:lnTo>
                      <a:lnTo>
                        <a:pt x="694" y="299"/>
                      </a:lnTo>
                      <a:lnTo>
                        <a:pt x="694" y="291"/>
                      </a:lnTo>
                      <a:lnTo>
                        <a:pt x="699" y="289"/>
                      </a:lnTo>
                      <a:lnTo>
                        <a:pt x="697" y="287"/>
                      </a:lnTo>
                      <a:lnTo>
                        <a:pt x="703" y="284"/>
                      </a:lnTo>
                      <a:lnTo>
                        <a:pt x="703" y="282"/>
                      </a:lnTo>
                      <a:lnTo>
                        <a:pt x="702" y="280"/>
                      </a:lnTo>
                      <a:lnTo>
                        <a:pt x="696" y="280"/>
                      </a:lnTo>
                      <a:lnTo>
                        <a:pt x="698" y="278"/>
                      </a:lnTo>
                      <a:lnTo>
                        <a:pt x="690" y="267"/>
                      </a:lnTo>
                      <a:lnTo>
                        <a:pt x="693" y="261"/>
                      </a:lnTo>
                      <a:lnTo>
                        <a:pt x="693" y="255"/>
                      </a:lnTo>
                      <a:lnTo>
                        <a:pt x="685" y="244"/>
                      </a:lnTo>
                      <a:lnTo>
                        <a:pt x="687" y="230"/>
                      </a:lnTo>
                      <a:lnTo>
                        <a:pt x="687" y="230"/>
                      </a:lnTo>
                      <a:lnTo>
                        <a:pt x="698" y="236"/>
                      </a:lnTo>
                      <a:lnTo>
                        <a:pt x="709" y="249"/>
                      </a:lnTo>
                      <a:lnTo>
                        <a:pt x="721" y="255"/>
                      </a:lnTo>
                      <a:lnTo>
                        <a:pt x="731" y="264"/>
                      </a:lnTo>
                      <a:lnTo>
                        <a:pt x="754" y="260"/>
                      </a:lnTo>
                      <a:lnTo>
                        <a:pt x="764" y="271"/>
                      </a:lnTo>
                      <a:lnTo>
                        <a:pt x="762" y="271"/>
                      </a:lnTo>
                      <a:lnTo>
                        <a:pt x="757" y="284"/>
                      </a:lnTo>
                      <a:lnTo>
                        <a:pt x="778" y="302"/>
                      </a:lnTo>
                      <a:lnTo>
                        <a:pt x="756" y="324"/>
                      </a:lnTo>
                      <a:lnTo>
                        <a:pt x="741" y="323"/>
                      </a:lnTo>
                      <a:lnTo>
                        <a:pt x="722" y="339"/>
                      </a:lnTo>
                      <a:lnTo>
                        <a:pt x="726" y="361"/>
                      </a:lnTo>
                      <a:lnTo>
                        <a:pt x="725" y="377"/>
                      </a:lnTo>
                      <a:lnTo>
                        <a:pt x="731" y="377"/>
                      </a:lnTo>
                      <a:lnTo>
                        <a:pt x="727" y="397"/>
                      </a:lnTo>
                      <a:lnTo>
                        <a:pt x="754" y="406"/>
                      </a:lnTo>
                      <a:lnTo>
                        <a:pt x="758" y="393"/>
                      </a:lnTo>
                      <a:lnTo>
                        <a:pt x="770" y="389"/>
                      </a:lnTo>
                      <a:lnTo>
                        <a:pt x="774" y="396"/>
                      </a:lnTo>
                      <a:lnTo>
                        <a:pt x="792" y="388"/>
                      </a:lnTo>
                      <a:lnTo>
                        <a:pt x="798" y="393"/>
                      </a:lnTo>
                      <a:lnTo>
                        <a:pt x="826" y="402"/>
                      </a:lnTo>
                      <a:lnTo>
                        <a:pt x="837" y="412"/>
                      </a:lnTo>
                      <a:lnTo>
                        <a:pt x="837" y="412"/>
                      </a:lnTo>
                      <a:lnTo>
                        <a:pt x="834" y="416"/>
                      </a:lnTo>
                      <a:lnTo>
                        <a:pt x="835" y="420"/>
                      </a:lnTo>
                      <a:lnTo>
                        <a:pt x="803" y="436"/>
                      </a:lnTo>
                      <a:lnTo>
                        <a:pt x="798" y="441"/>
                      </a:lnTo>
                      <a:lnTo>
                        <a:pt x="786" y="451"/>
                      </a:lnTo>
                      <a:lnTo>
                        <a:pt x="772" y="467"/>
                      </a:lnTo>
                      <a:lnTo>
                        <a:pt x="758" y="504"/>
                      </a:lnTo>
                      <a:lnTo>
                        <a:pt x="746" y="542"/>
                      </a:lnTo>
                      <a:lnTo>
                        <a:pt x="749" y="552"/>
                      </a:lnTo>
                      <a:lnTo>
                        <a:pt x="748" y="555"/>
                      </a:lnTo>
                      <a:lnTo>
                        <a:pt x="747" y="558"/>
                      </a:lnTo>
                      <a:lnTo>
                        <a:pt x="749" y="568"/>
                      </a:lnTo>
                      <a:lnTo>
                        <a:pt x="758" y="581"/>
                      </a:lnTo>
                      <a:lnTo>
                        <a:pt x="764" y="586"/>
                      </a:lnTo>
                      <a:lnTo>
                        <a:pt x="807" y="608"/>
                      </a:lnTo>
                      <a:lnTo>
                        <a:pt x="843" y="612"/>
                      </a:lnTo>
                      <a:lnTo>
                        <a:pt x="871" y="639"/>
                      </a:lnTo>
                      <a:lnTo>
                        <a:pt x="888" y="661"/>
                      </a:lnTo>
                      <a:lnTo>
                        <a:pt x="889" y="673"/>
                      </a:lnTo>
                      <a:lnTo>
                        <a:pt x="893" y="677"/>
                      </a:lnTo>
                      <a:lnTo>
                        <a:pt x="888" y="693"/>
                      </a:lnTo>
                      <a:lnTo>
                        <a:pt x="889" y="708"/>
                      </a:lnTo>
                      <a:lnTo>
                        <a:pt x="893" y="714"/>
                      </a:lnTo>
                      <a:lnTo>
                        <a:pt x="892" y="723"/>
                      </a:lnTo>
                      <a:lnTo>
                        <a:pt x="888" y="731"/>
                      </a:lnTo>
                      <a:lnTo>
                        <a:pt x="880" y="734"/>
                      </a:lnTo>
                      <a:lnTo>
                        <a:pt x="870" y="747"/>
                      </a:lnTo>
                      <a:lnTo>
                        <a:pt x="861" y="750"/>
                      </a:lnTo>
                      <a:lnTo>
                        <a:pt x="859" y="753"/>
                      </a:lnTo>
                      <a:lnTo>
                        <a:pt x="854" y="751"/>
                      </a:lnTo>
                      <a:lnTo>
                        <a:pt x="850" y="754"/>
                      </a:lnTo>
                      <a:lnTo>
                        <a:pt x="845" y="753"/>
                      </a:lnTo>
                      <a:lnTo>
                        <a:pt x="837" y="771"/>
                      </a:lnTo>
                      <a:lnTo>
                        <a:pt x="829" y="769"/>
                      </a:lnTo>
                      <a:lnTo>
                        <a:pt x="804" y="769"/>
                      </a:lnTo>
                      <a:lnTo>
                        <a:pt x="791" y="764"/>
                      </a:lnTo>
                      <a:lnTo>
                        <a:pt x="768" y="772"/>
                      </a:lnTo>
                      <a:lnTo>
                        <a:pt x="752" y="782"/>
                      </a:lnTo>
                      <a:lnTo>
                        <a:pt x="745" y="783"/>
                      </a:lnTo>
                      <a:lnTo>
                        <a:pt x="731" y="794"/>
                      </a:lnTo>
                      <a:lnTo>
                        <a:pt x="730" y="792"/>
                      </a:lnTo>
                      <a:lnTo>
                        <a:pt x="727" y="792"/>
                      </a:lnTo>
                      <a:lnTo>
                        <a:pt x="714" y="814"/>
                      </a:lnTo>
                      <a:lnTo>
                        <a:pt x="701" y="824"/>
                      </a:lnTo>
                      <a:lnTo>
                        <a:pt x="697" y="831"/>
                      </a:lnTo>
                      <a:lnTo>
                        <a:pt x="696" y="846"/>
                      </a:lnTo>
                      <a:lnTo>
                        <a:pt x="700" y="864"/>
                      </a:lnTo>
                      <a:lnTo>
                        <a:pt x="692" y="871"/>
                      </a:lnTo>
                      <a:lnTo>
                        <a:pt x="685" y="871"/>
                      </a:lnTo>
                      <a:lnTo>
                        <a:pt x="680" y="867"/>
                      </a:lnTo>
                      <a:lnTo>
                        <a:pt x="684" y="852"/>
                      </a:lnTo>
                      <a:lnTo>
                        <a:pt x="684" y="843"/>
                      </a:lnTo>
                      <a:lnTo>
                        <a:pt x="691" y="832"/>
                      </a:lnTo>
                      <a:lnTo>
                        <a:pt x="688" y="829"/>
                      </a:lnTo>
                      <a:lnTo>
                        <a:pt x="671" y="831"/>
                      </a:lnTo>
                      <a:lnTo>
                        <a:pt x="654" y="840"/>
                      </a:lnTo>
                      <a:lnTo>
                        <a:pt x="643" y="857"/>
                      </a:lnTo>
                      <a:lnTo>
                        <a:pt x="643" y="859"/>
                      </a:lnTo>
                      <a:lnTo>
                        <a:pt x="647" y="862"/>
                      </a:lnTo>
                      <a:lnTo>
                        <a:pt x="655" y="862"/>
                      </a:lnTo>
                      <a:lnTo>
                        <a:pt x="657" y="864"/>
                      </a:lnTo>
                      <a:lnTo>
                        <a:pt x="660" y="871"/>
                      </a:lnTo>
                      <a:lnTo>
                        <a:pt x="656" y="877"/>
                      </a:lnTo>
                      <a:lnTo>
                        <a:pt x="657" y="883"/>
                      </a:lnTo>
                      <a:lnTo>
                        <a:pt x="664" y="879"/>
                      </a:lnTo>
                      <a:lnTo>
                        <a:pt x="666" y="881"/>
                      </a:lnTo>
                      <a:lnTo>
                        <a:pt x="664" y="883"/>
                      </a:lnTo>
                      <a:lnTo>
                        <a:pt x="668" y="885"/>
                      </a:lnTo>
                      <a:lnTo>
                        <a:pt x="675" y="875"/>
                      </a:lnTo>
                      <a:lnTo>
                        <a:pt x="685" y="875"/>
                      </a:lnTo>
                      <a:lnTo>
                        <a:pt x="687" y="877"/>
                      </a:lnTo>
                      <a:lnTo>
                        <a:pt x="685" y="883"/>
                      </a:lnTo>
                      <a:lnTo>
                        <a:pt x="694" y="882"/>
                      </a:lnTo>
                      <a:lnTo>
                        <a:pt x="695" y="878"/>
                      </a:lnTo>
                      <a:lnTo>
                        <a:pt x="701" y="882"/>
                      </a:lnTo>
                      <a:lnTo>
                        <a:pt x="707" y="878"/>
                      </a:lnTo>
                      <a:lnTo>
                        <a:pt x="706" y="874"/>
                      </a:lnTo>
                      <a:lnTo>
                        <a:pt x="710" y="873"/>
                      </a:lnTo>
                      <a:lnTo>
                        <a:pt x="730" y="881"/>
                      </a:lnTo>
                      <a:lnTo>
                        <a:pt x="739" y="891"/>
                      </a:lnTo>
                      <a:lnTo>
                        <a:pt x="738" y="900"/>
                      </a:lnTo>
                      <a:lnTo>
                        <a:pt x="735" y="900"/>
                      </a:lnTo>
                      <a:lnTo>
                        <a:pt x="733" y="906"/>
                      </a:lnTo>
                      <a:lnTo>
                        <a:pt x="733" y="917"/>
                      </a:lnTo>
                      <a:lnTo>
                        <a:pt x="724" y="928"/>
                      </a:lnTo>
                      <a:lnTo>
                        <a:pt x="713" y="922"/>
                      </a:lnTo>
                      <a:lnTo>
                        <a:pt x="706" y="925"/>
                      </a:lnTo>
                      <a:lnTo>
                        <a:pt x="704" y="920"/>
                      </a:lnTo>
                      <a:lnTo>
                        <a:pt x="700" y="918"/>
                      </a:lnTo>
                      <a:lnTo>
                        <a:pt x="698" y="916"/>
                      </a:lnTo>
                      <a:lnTo>
                        <a:pt x="693" y="914"/>
                      </a:lnTo>
                      <a:lnTo>
                        <a:pt x="695" y="920"/>
                      </a:lnTo>
                      <a:lnTo>
                        <a:pt x="702" y="921"/>
                      </a:lnTo>
                      <a:lnTo>
                        <a:pt x="704" y="926"/>
                      </a:lnTo>
                      <a:lnTo>
                        <a:pt x="702" y="928"/>
                      </a:lnTo>
                      <a:lnTo>
                        <a:pt x="707" y="930"/>
                      </a:lnTo>
                      <a:lnTo>
                        <a:pt x="701" y="935"/>
                      </a:lnTo>
                      <a:lnTo>
                        <a:pt x="705" y="936"/>
                      </a:lnTo>
                      <a:lnTo>
                        <a:pt x="706" y="944"/>
                      </a:lnTo>
                      <a:lnTo>
                        <a:pt x="710" y="948"/>
                      </a:lnTo>
                      <a:lnTo>
                        <a:pt x="708" y="956"/>
                      </a:lnTo>
                      <a:lnTo>
                        <a:pt x="718" y="958"/>
                      </a:lnTo>
                      <a:lnTo>
                        <a:pt x="716" y="965"/>
                      </a:lnTo>
                      <a:lnTo>
                        <a:pt x="733" y="1000"/>
                      </a:lnTo>
                      <a:lnTo>
                        <a:pt x="732" y="1009"/>
                      </a:lnTo>
                      <a:lnTo>
                        <a:pt x="730" y="1007"/>
                      </a:lnTo>
                      <a:lnTo>
                        <a:pt x="720" y="1007"/>
                      </a:lnTo>
                      <a:lnTo>
                        <a:pt x="716" y="1010"/>
                      </a:lnTo>
                      <a:lnTo>
                        <a:pt x="705" y="1008"/>
                      </a:lnTo>
                      <a:lnTo>
                        <a:pt x="698" y="1013"/>
                      </a:lnTo>
                      <a:lnTo>
                        <a:pt x="695" y="1019"/>
                      </a:lnTo>
                      <a:lnTo>
                        <a:pt x="690" y="1021"/>
                      </a:lnTo>
                      <a:lnTo>
                        <a:pt x="680" y="1032"/>
                      </a:lnTo>
                      <a:lnTo>
                        <a:pt x="666" y="1039"/>
                      </a:lnTo>
                      <a:lnTo>
                        <a:pt x="651" y="1039"/>
                      </a:lnTo>
                      <a:lnTo>
                        <a:pt x="624" y="1026"/>
                      </a:lnTo>
                      <a:lnTo>
                        <a:pt x="615" y="1017"/>
                      </a:lnTo>
                      <a:lnTo>
                        <a:pt x="611" y="1007"/>
                      </a:lnTo>
                      <a:lnTo>
                        <a:pt x="587" y="999"/>
                      </a:lnTo>
                      <a:lnTo>
                        <a:pt x="585" y="1000"/>
                      </a:lnTo>
                      <a:lnTo>
                        <a:pt x="590" y="1003"/>
                      </a:lnTo>
                      <a:lnTo>
                        <a:pt x="590" y="1008"/>
                      </a:lnTo>
                      <a:lnTo>
                        <a:pt x="579" y="1009"/>
                      </a:lnTo>
                      <a:lnTo>
                        <a:pt x="571" y="1001"/>
                      </a:lnTo>
                      <a:lnTo>
                        <a:pt x="560" y="996"/>
                      </a:lnTo>
                      <a:lnTo>
                        <a:pt x="554" y="987"/>
                      </a:lnTo>
                      <a:lnTo>
                        <a:pt x="541" y="979"/>
                      </a:lnTo>
                      <a:lnTo>
                        <a:pt x="529" y="966"/>
                      </a:lnTo>
                      <a:lnTo>
                        <a:pt x="510" y="956"/>
                      </a:lnTo>
                      <a:lnTo>
                        <a:pt x="485" y="949"/>
                      </a:lnTo>
                      <a:lnTo>
                        <a:pt x="467" y="941"/>
                      </a:lnTo>
                      <a:lnTo>
                        <a:pt x="456" y="932"/>
                      </a:lnTo>
                      <a:lnTo>
                        <a:pt x="426" y="924"/>
                      </a:lnTo>
                      <a:lnTo>
                        <a:pt x="423" y="921"/>
                      </a:lnTo>
                      <a:lnTo>
                        <a:pt x="431" y="922"/>
                      </a:lnTo>
                      <a:lnTo>
                        <a:pt x="481" y="939"/>
                      </a:lnTo>
                      <a:lnTo>
                        <a:pt x="494" y="940"/>
                      </a:lnTo>
                      <a:lnTo>
                        <a:pt x="539" y="962"/>
                      </a:lnTo>
                      <a:lnTo>
                        <a:pt x="543" y="957"/>
                      </a:lnTo>
                      <a:lnTo>
                        <a:pt x="541" y="951"/>
                      </a:lnTo>
                      <a:lnTo>
                        <a:pt x="530" y="939"/>
                      </a:lnTo>
                      <a:lnTo>
                        <a:pt x="529" y="932"/>
                      </a:lnTo>
                      <a:lnTo>
                        <a:pt x="513" y="923"/>
                      </a:lnTo>
                      <a:lnTo>
                        <a:pt x="510" y="918"/>
                      </a:lnTo>
                      <a:lnTo>
                        <a:pt x="506" y="921"/>
                      </a:lnTo>
                      <a:lnTo>
                        <a:pt x="508" y="925"/>
                      </a:lnTo>
                      <a:lnTo>
                        <a:pt x="512" y="928"/>
                      </a:lnTo>
                      <a:lnTo>
                        <a:pt x="502" y="927"/>
                      </a:lnTo>
                      <a:lnTo>
                        <a:pt x="495" y="917"/>
                      </a:lnTo>
                      <a:lnTo>
                        <a:pt x="500" y="917"/>
                      </a:lnTo>
                      <a:lnTo>
                        <a:pt x="503" y="911"/>
                      </a:lnTo>
                      <a:lnTo>
                        <a:pt x="500" y="913"/>
                      </a:lnTo>
                      <a:lnTo>
                        <a:pt x="492" y="912"/>
                      </a:lnTo>
                      <a:lnTo>
                        <a:pt x="479" y="892"/>
                      </a:lnTo>
                      <a:lnTo>
                        <a:pt x="478" y="881"/>
                      </a:lnTo>
                      <a:lnTo>
                        <a:pt x="482" y="876"/>
                      </a:lnTo>
                      <a:lnTo>
                        <a:pt x="486" y="881"/>
                      </a:lnTo>
                      <a:lnTo>
                        <a:pt x="484" y="886"/>
                      </a:lnTo>
                      <a:lnTo>
                        <a:pt x="496" y="885"/>
                      </a:lnTo>
                      <a:lnTo>
                        <a:pt x="502" y="887"/>
                      </a:lnTo>
                      <a:lnTo>
                        <a:pt x="505" y="885"/>
                      </a:lnTo>
                      <a:lnTo>
                        <a:pt x="506" y="876"/>
                      </a:lnTo>
                      <a:lnTo>
                        <a:pt x="512" y="873"/>
                      </a:lnTo>
                      <a:lnTo>
                        <a:pt x="528" y="876"/>
                      </a:lnTo>
                      <a:lnTo>
                        <a:pt x="533" y="874"/>
                      </a:lnTo>
                      <a:lnTo>
                        <a:pt x="534" y="870"/>
                      </a:lnTo>
                      <a:lnTo>
                        <a:pt x="529" y="856"/>
                      </a:lnTo>
                      <a:lnTo>
                        <a:pt x="525" y="856"/>
                      </a:lnTo>
                      <a:lnTo>
                        <a:pt x="521" y="852"/>
                      </a:lnTo>
                      <a:lnTo>
                        <a:pt x="518" y="852"/>
                      </a:lnTo>
                      <a:lnTo>
                        <a:pt x="516" y="858"/>
                      </a:lnTo>
                      <a:lnTo>
                        <a:pt x="512" y="859"/>
                      </a:lnTo>
                      <a:lnTo>
                        <a:pt x="508" y="856"/>
                      </a:lnTo>
                      <a:lnTo>
                        <a:pt x="509" y="850"/>
                      </a:lnTo>
                      <a:lnTo>
                        <a:pt x="497" y="852"/>
                      </a:lnTo>
                      <a:lnTo>
                        <a:pt x="491" y="850"/>
                      </a:lnTo>
                      <a:lnTo>
                        <a:pt x="487" y="854"/>
                      </a:lnTo>
                      <a:lnTo>
                        <a:pt x="477" y="850"/>
                      </a:lnTo>
                      <a:lnTo>
                        <a:pt x="475" y="847"/>
                      </a:lnTo>
                      <a:lnTo>
                        <a:pt x="476" y="837"/>
                      </a:lnTo>
                      <a:lnTo>
                        <a:pt x="492" y="827"/>
                      </a:lnTo>
                      <a:lnTo>
                        <a:pt x="490" y="821"/>
                      </a:lnTo>
                      <a:lnTo>
                        <a:pt x="484" y="825"/>
                      </a:lnTo>
                      <a:lnTo>
                        <a:pt x="482" y="825"/>
                      </a:lnTo>
                      <a:lnTo>
                        <a:pt x="482" y="822"/>
                      </a:lnTo>
                      <a:lnTo>
                        <a:pt x="494" y="809"/>
                      </a:lnTo>
                      <a:lnTo>
                        <a:pt x="488" y="809"/>
                      </a:lnTo>
                      <a:lnTo>
                        <a:pt x="486" y="805"/>
                      </a:lnTo>
                      <a:lnTo>
                        <a:pt x="475" y="798"/>
                      </a:lnTo>
                      <a:lnTo>
                        <a:pt x="460" y="800"/>
                      </a:lnTo>
                      <a:lnTo>
                        <a:pt x="442" y="818"/>
                      </a:lnTo>
                      <a:lnTo>
                        <a:pt x="443" y="825"/>
                      </a:lnTo>
                      <a:lnTo>
                        <a:pt x="434" y="830"/>
                      </a:lnTo>
                      <a:lnTo>
                        <a:pt x="429" y="825"/>
                      </a:lnTo>
                      <a:lnTo>
                        <a:pt x="423" y="825"/>
                      </a:lnTo>
                      <a:lnTo>
                        <a:pt x="409" y="816"/>
                      </a:lnTo>
                      <a:lnTo>
                        <a:pt x="400" y="818"/>
                      </a:lnTo>
                      <a:lnTo>
                        <a:pt x="395" y="816"/>
                      </a:lnTo>
                      <a:lnTo>
                        <a:pt x="384" y="816"/>
                      </a:lnTo>
                      <a:lnTo>
                        <a:pt x="371" y="810"/>
                      </a:lnTo>
                      <a:lnTo>
                        <a:pt x="357" y="807"/>
                      </a:lnTo>
                      <a:lnTo>
                        <a:pt x="351" y="809"/>
                      </a:lnTo>
                      <a:lnTo>
                        <a:pt x="348" y="802"/>
                      </a:lnTo>
                      <a:lnTo>
                        <a:pt x="342" y="800"/>
                      </a:lnTo>
                      <a:lnTo>
                        <a:pt x="337" y="802"/>
                      </a:lnTo>
                      <a:lnTo>
                        <a:pt x="337" y="797"/>
                      </a:lnTo>
                      <a:lnTo>
                        <a:pt x="331" y="790"/>
                      </a:lnTo>
                      <a:lnTo>
                        <a:pt x="326" y="793"/>
                      </a:lnTo>
                      <a:lnTo>
                        <a:pt x="321" y="789"/>
                      </a:lnTo>
                      <a:lnTo>
                        <a:pt x="316" y="788"/>
                      </a:lnTo>
                      <a:lnTo>
                        <a:pt x="313" y="796"/>
                      </a:lnTo>
                      <a:lnTo>
                        <a:pt x="308" y="800"/>
                      </a:lnTo>
                      <a:lnTo>
                        <a:pt x="309" y="804"/>
                      </a:lnTo>
                      <a:lnTo>
                        <a:pt x="313" y="803"/>
                      </a:lnTo>
                      <a:lnTo>
                        <a:pt x="315" y="800"/>
                      </a:lnTo>
                      <a:lnTo>
                        <a:pt x="324" y="802"/>
                      </a:lnTo>
                      <a:lnTo>
                        <a:pt x="327" y="804"/>
                      </a:lnTo>
                      <a:lnTo>
                        <a:pt x="326" y="807"/>
                      </a:lnTo>
                      <a:lnTo>
                        <a:pt x="330" y="810"/>
                      </a:lnTo>
                      <a:lnTo>
                        <a:pt x="331" y="818"/>
                      </a:lnTo>
                      <a:lnTo>
                        <a:pt x="318" y="820"/>
                      </a:lnTo>
                      <a:lnTo>
                        <a:pt x="301" y="816"/>
                      </a:lnTo>
                      <a:lnTo>
                        <a:pt x="291" y="817"/>
                      </a:lnTo>
                      <a:lnTo>
                        <a:pt x="296" y="810"/>
                      </a:lnTo>
                      <a:lnTo>
                        <a:pt x="299" y="814"/>
                      </a:lnTo>
                      <a:lnTo>
                        <a:pt x="301" y="812"/>
                      </a:lnTo>
                      <a:lnTo>
                        <a:pt x="309" y="817"/>
                      </a:lnTo>
                      <a:lnTo>
                        <a:pt x="312" y="816"/>
                      </a:lnTo>
                      <a:lnTo>
                        <a:pt x="309" y="814"/>
                      </a:lnTo>
                      <a:lnTo>
                        <a:pt x="307" y="800"/>
                      </a:lnTo>
                      <a:lnTo>
                        <a:pt x="297" y="798"/>
                      </a:lnTo>
                      <a:lnTo>
                        <a:pt x="287" y="808"/>
                      </a:lnTo>
                      <a:lnTo>
                        <a:pt x="281" y="809"/>
                      </a:lnTo>
                      <a:lnTo>
                        <a:pt x="277" y="806"/>
                      </a:lnTo>
                      <a:lnTo>
                        <a:pt x="272" y="797"/>
                      </a:lnTo>
                      <a:lnTo>
                        <a:pt x="266" y="801"/>
                      </a:lnTo>
                      <a:lnTo>
                        <a:pt x="266" y="805"/>
                      </a:lnTo>
                      <a:lnTo>
                        <a:pt x="264" y="806"/>
                      </a:lnTo>
                      <a:lnTo>
                        <a:pt x="260" y="797"/>
                      </a:lnTo>
                      <a:lnTo>
                        <a:pt x="252" y="798"/>
                      </a:lnTo>
                      <a:lnTo>
                        <a:pt x="250" y="806"/>
                      </a:lnTo>
                      <a:lnTo>
                        <a:pt x="252" y="811"/>
                      </a:lnTo>
                      <a:lnTo>
                        <a:pt x="249" y="812"/>
                      </a:lnTo>
                      <a:lnTo>
                        <a:pt x="240" y="814"/>
                      </a:lnTo>
                      <a:lnTo>
                        <a:pt x="232" y="806"/>
                      </a:lnTo>
                      <a:lnTo>
                        <a:pt x="219" y="805"/>
                      </a:lnTo>
                      <a:lnTo>
                        <a:pt x="214" y="802"/>
                      </a:lnTo>
                      <a:lnTo>
                        <a:pt x="211" y="799"/>
                      </a:lnTo>
                      <a:lnTo>
                        <a:pt x="215" y="798"/>
                      </a:lnTo>
                      <a:lnTo>
                        <a:pt x="208" y="789"/>
                      </a:lnTo>
                      <a:lnTo>
                        <a:pt x="208" y="787"/>
                      </a:lnTo>
                      <a:lnTo>
                        <a:pt x="215" y="785"/>
                      </a:lnTo>
                      <a:lnTo>
                        <a:pt x="206" y="763"/>
                      </a:lnTo>
                      <a:lnTo>
                        <a:pt x="209" y="761"/>
                      </a:lnTo>
                      <a:lnTo>
                        <a:pt x="213" y="763"/>
                      </a:lnTo>
                      <a:lnTo>
                        <a:pt x="213" y="767"/>
                      </a:lnTo>
                      <a:lnTo>
                        <a:pt x="226" y="770"/>
                      </a:lnTo>
                      <a:lnTo>
                        <a:pt x="229" y="773"/>
                      </a:lnTo>
                      <a:lnTo>
                        <a:pt x="232" y="772"/>
                      </a:lnTo>
                      <a:lnTo>
                        <a:pt x="236" y="756"/>
                      </a:lnTo>
                      <a:lnTo>
                        <a:pt x="238" y="752"/>
                      </a:lnTo>
                      <a:lnTo>
                        <a:pt x="241" y="752"/>
                      </a:lnTo>
                      <a:lnTo>
                        <a:pt x="246" y="740"/>
                      </a:lnTo>
                      <a:lnTo>
                        <a:pt x="243" y="729"/>
                      </a:lnTo>
                      <a:lnTo>
                        <a:pt x="238" y="730"/>
                      </a:lnTo>
                      <a:lnTo>
                        <a:pt x="235" y="734"/>
                      </a:lnTo>
                      <a:lnTo>
                        <a:pt x="233" y="750"/>
                      </a:lnTo>
                      <a:lnTo>
                        <a:pt x="237" y="754"/>
                      </a:lnTo>
                      <a:lnTo>
                        <a:pt x="228" y="760"/>
                      </a:lnTo>
                      <a:lnTo>
                        <a:pt x="224" y="769"/>
                      </a:lnTo>
                      <a:lnTo>
                        <a:pt x="219" y="760"/>
                      </a:lnTo>
                      <a:lnTo>
                        <a:pt x="216" y="759"/>
                      </a:lnTo>
                      <a:lnTo>
                        <a:pt x="213" y="761"/>
                      </a:lnTo>
                      <a:lnTo>
                        <a:pt x="209" y="757"/>
                      </a:lnTo>
                      <a:lnTo>
                        <a:pt x="212" y="745"/>
                      </a:lnTo>
                      <a:lnTo>
                        <a:pt x="207" y="735"/>
                      </a:lnTo>
                      <a:lnTo>
                        <a:pt x="206" y="722"/>
                      </a:lnTo>
                      <a:lnTo>
                        <a:pt x="186" y="709"/>
                      </a:lnTo>
                      <a:lnTo>
                        <a:pt x="172" y="702"/>
                      </a:lnTo>
                      <a:lnTo>
                        <a:pt x="159" y="688"/>
                      </a:lnTo>
                      <a:lnTo>
                        <a:pt x="147" y="682"/>
                      </a:lnTo>
                      <a:lnTo>
                        <a:pt x="147" y="676"/>
                      </a:lnTo>
                      <a:lnTo>
                        <a:pt x="150" y="674"/>
                      </a:lnTo>
                      <a:lnTo>
                        <a:pt x="153" y="678"/>
                      </a:lnTo>
                      <a:lnTo>
                        <a:pt x="160" y="678"/>
                      </a:lnTo>
                      <a:lnTo>
                        <a:pt x="161" y="681"/>
                      </a:lnTo>
                      <a:lnTo>
                        <a:pt x="170" y="680"/>
                      </a:lnTo>
                      <a:lnTo>
                        <a:pt x="175" y="683"/>
                      </a:lnTo>
                      <a:lnTo>
                        <a:pt x="179" y="682"/>
                      </a:lnTo>
                      <a:lnTo>
                        <a:pt x="181" y="677"/>
                      </a:lnTo>
                      <a:lnTo>
                        <a:pt x="189" y="672"/>
                      </a:lnTo>
                      <a:lnTo>
                        <a:pt x="191" y="666"/>
                      </a:lnTo>
                      <a:lnTo>
                        <a:pt x="188" y="664"/>
                      </a:lnTo>
                      <a:lnTo>
                        <a:pt x="184" y="663"/>
                      </a:lnTo>
                      <a:lnTo>
                        <a:pt x="175" y="655"/>
                      </a:lnTo>
                      <a:lnTo>
                        <a:pt x="167" y="655"/>
                      </a:lnTo>
                      <a:lnTo>
                        <a:pt x="162" y="659"/>
                      </a:lnTo>
                      <a:lnTo>
                        <a:pt x="165" y="663"/>
                      </a:lnTo>
                      <a:lnTo>
                        <a:pt x="163" y="668"/>
                      </a:lnTo>
                      <a:lnTo>
                        <a:pt x="166" y="671"/>
                      </a:lnTo>
                      <a:lnTo>
                        <a:pt x="153" y="677"/>
                      </a:lnTo>
                      <a:lnTo>
                        <a:pt x="151" y="672"/>
                      </a:lnTo>
                      <a:lnTo>
                        <a:pt x="144" y="671"/>
                      </a:lnTo>
                      <a:lnTo>
                        <a:pt x="136" y="661"/>
                      </a:lnTo>
                      <a:lnTo>
                        <a:pt x="126" y="662"/>
                      </a:lnTo>
                      <a:lnTo>
                        <a:pt x="126" y="657"/>
                      </a:lnTo>
                      <a:lnTo>
                        <a:pt x="138" y="639"/>
                      </a:lnTo>
                      <a:lnTo>
                        <a:pt x="142" y="644"/>
                      </a:lnTo>
                      <a:lnTo>
                        <a:pt x="159" y="641"/>
                      </a:lnTo>
                      <a:lnTo>
                        <a:pt x="173" y="629"/>
                      </a:lnTo>
                      <a:lnTo>
                        <a:pt x="187" y="626"/>
                      </a:lnTo>
                      <a:lnTo>
                        <a:pt x="195" y="617"/>
                      </a:lnTo>
                      <a:lnTo>
                        <a:pt x="195" y="612"/>
                      </a:lnTo>
                      <a:lnTo>
                        <a:pt x="194" y="607"/>
                      </a:lnTo>
                      <a:lnTo>
                        <a:pt x="183" y="591"/>
                      </a:lnTo>
                      <a:lnTo>
                        <a:pt x="188" y="566"/>
                      </a:lnTo>
                      <a:lnTo>
                        <a:pt x="186" y="556"/>
                      </a:lnTo>
                      <a:lnTo>
                        <a:pt x="174" y="534"/>
                      </a:lnTo>
                      <a:lnTo>
                        <a:pt x="174" y="521"/>
                      </a:lnTo>
                      <a:lnTo>
                        <a:pt x="171" y="513"/>
                      </a:lnTo>
                      <a:lnTo>
                        <a:pt x="154" y="495"/>
                      </a:lnTo>
                      <a:lnTo>
                        <a:pt x="151" y="488"/>
                      </a:lnTo>
                      <a:lnTo>
                        <a:pt x="146" y="485"/>
                      </a:lnTo>
                      <a:lnTo>
                        <a:pt x="143" y="478"/>
                      </a:lnTo>
                      <a:lnTo>
                        <a:pt x="139" y="482"/>
                      </a:lnTo>
                      <a:lnTo>
                        <a:pt x="141" y="488"/>
                      </a:lnTo>
                      <a:lnTo>
                        <a:pt x="144" y="487"/>
                      </a:lnTo>
                      <a:lnTo>
                        <a:pt x="138" y="498"/>
                      </a:lnTo>
                      <a:lnTo>
                        <a:pt x="127" y="500"/>
                      </a:lnTo>
                      <a:lnTo>
                        <a:pt x="119" y="496"/>
                      </a:lnTo>
                      <a:lnTo>
                        <a:pt x="124" y="476"/>
                      </a:lnTo>
                      <a:lnTo>
                        <a:pt x="127" y="474"/>
                      </a:lnTo>
                      <a:lnTo>
                        <a:pt x="133" y="476"/>
                      </a:lnTo>
                      <a:lnTo>
                        <a:pt x="139" y="473"/>
                      </a:lnTo>
                      <a:lnTo>
                        <a:pt x="153" y="474"/>
                      </a:lnTo>
                      <a:lnTo>
                        <a:pt x="152" y="476"/>
                      </a:lnTo>
                      <a:lnTo>
                        <a:pt x="155" y="479"/>
                      </a:lnTo>
                      <a:lnTo>
                        <a:pt x="160" y="475"/>
                      </a:lnTo>
                      <a:lnTo>
                        <a:pt x="162" y="472"/>
                      </a:lnTo>
                      <a:lnTo>
                        <a:pt x="154" y="475"/>
                      </a:lnTo>
                      <a:lnTo>
                        <a:pt x="154" y="473"/>
                      </a:lnTo>
                      <a:lnTo>
                        <a:pt x="160" y="463"/>
                      </a:lnTo>
                      <a:lnTo>
                        <a:pt x="163" y="454"/>
                      </a:lnTo>
                      <a:lnTo>
                        <a:pt x="159" y="426"/>
                      </a:lnTo>
                      <a:lnTo>
                        <a:pt x="147" y="398"/>
                      </a:lnTo>
                      <a:lnTo>
                        <a:pt x="137" y="387"/>
                      </a:lnTo>
                      <a:lnTo>
                        <a:pt x="96" y="361"/>
                      </a:lnTo>
                      <a:lnTo>
                        <a:pt x="79" y="356"/>
                      </a:lnTo>
                      <a:lnTo>
                        <a:pt x="42" y="352"/>
                      </a:lnTo>
                      <a:lnTo>
                        <a:pt x="37" y="347"/>
                      </a:lnTo>
                      <a:lnTo>
                        <a:pt x="36" y="341"/>
                      </a:lnTo>
                      <a:lnTo>
                        <a:pt x="41" y="337"/>
                      </a:lnTo>
                      <a:lnTo>
                        <a:pt x="51" y="340"/>
                      </a:lnTo>
                      <a:lnTo>
                        <a:pt x="54" y="343"/>
                      </a:lnTo>
                      <a:lnTo>
                        <a:pt x="66" y="344"/>
                      </a:lnTo>
                      <a:lnTo>
                        <a:pt x="73" y="342"/>
                      </a:lnTo>
                      <a:lnTo>
                        <a:pt x="106" y="349"/>
                      </a:lnTo>
                      <a:lnTo>
                        <a:pt x="113" y="349"/>
                      </a:lnTo>
                      <a:lnTo>
                        <a:pt x="121" y="345"/>
                      </a:lnTo>
                      <a:lnTo>
                        <a:pt x="123" y="350"/>
                      </a:lnTo>
                      <a:lnTo>
                        <a:pt x="125" y="346"/>
                      </a:lnTo>
                      <a:lnTo>
                        <a:pt x="131" y="345"/>
                      </a:lnTo>
                      <a:lnTo>
                        <a:pt x="133" y="342"/>
                      </a:lnTo>
                      <a:lnTo>
                        <a:pt x="129" y="343"/>
                      </a:lnTo>
                      <a:lnTo>
                        <a:pt x="124" y="340"/>
                      </a:lnTo>
                      <a:lnTo>
                        <a:pt x="125" y="338"/>
                      </a:lnTo>
                      <a:lnTo>
                        <a:pt x="129" y="339"/>
                      </a:lnTo>
                      <a:lnTo>
                        <a:pt x="128" y="337"/>
                      </a:lnTo>
                      <a:lnTo>
                        <a:pt x="133" y="337"/>
                      </a:lnTo>
                      <a:lnTo>
                        <a:pt x="131" y="335"/>
                      </a:lnTo>
                      <a:lnTo>
                        <a:pt x="128" y="336"/>
                      </a:lnTo>
                      <a:lnTo>
                        <a:pt x="114" y="331"/>
                      </a:lnTo>
                      <a:lnTo>
                        <a:pt x="119" y="341"/>
                      </a:lnTo>
                      <a:lnTo>
                        <a:pt x="117" y="341"/>
                      </a:lnTo>
                      <a:lnTo>
                        <a:pt x="108" y="329"/>
                      </a:lnTo>
                      <a:lnTo>
                        <a:pt x="88" y="314"/>
                      </a:lnTo>
                      <a:lnTo>
                        <a:pt x="71" y="287"/>
                      </a:lnTo>
                      <a:lnTo>
                        <a:pt x="65" y="284"/>
                      </a:lnTo>
                      <a:lnTo>
                        <a:pt x="56" y="282"/>
                      </a:lnTo>
                      <a:lnTo>
                        <a:pt x="34" y="284"/>
                      </a:lnTo>
                      <a:lnTo>
                        <a:pt x="23" y="282"/>
                      </a:lnTo>
                      <a:lnTo>
                        <a:pt x="9" y="276"/>
                      </a:lnTo>
                      <a:lnTo>
                        <a:pt x="0" y="269"/>
                      </a:lnTo>
                      <a:lnTo>
                        <a:pt x="15" y="268"/>
                      </a:lnTo>
                      <a:lnTo>
                        <a:pt x="43" y="260"/>
                      </a:lnTo>
                      <a:lnTo>
                        <a:pt x="66" y="265"/>
                      </a:lnTo>
                      <a:lnTo>
                        <a:pt x="79" y="270"/>
                      </a:lnTo>
                      <a:lnTo>
                        <a:pt x="83" y="274"/>
                      </a:lnTo>
                      <a:lnTo>
                        <a:pt x="100" y="280"/>
                      </a:lnTo>
                      <a:lnTo>
                        <a:pt x="119" y="276"/>
                      </a:lnTo>
                      <a:lnTo>
                        <a:pt x="135" y="269"/>
                      </a:lnTo>
                      <a:lnTo>
                        <a:pt x="146" y="260"/>
                      </a:lnTo>
                      <a:lnTo>
                        <a:pt x="157" y="258"/>
                      </a:lnTo>
                      <a:lnTo>
                        <a:pt x="164" y="261"/>
                      </a:lnTo>
                      <a:lnTo>
                        <a:pt x="174" y="257"/>
                      </a:lnTo>
                      <a:lnTo>
                        <a:pt x="175" y="263"/>
                      </a:lnTo>
                      <a:lnTo>
                        <a:pt x="173" y="264"/>
                      </a:lnTo>
                      <a:lnTo>
                        <a:pt x="184" y="280"/>
                      </a:lnTo>
                      <a:lnTo>
                        <a:pt x="194" y="279"/>
                      </a:lnTo>
                      <a:lnTo>
                        <a:pt x="198" y="272"/>
                      </a:lnTo>
                      <a:lnTo>
                        <a:pt x="196" y="267"/>
                      </a:lnTo>
                      <a:lnTo>
                        <a:pt x="200" y="264"/>
                      </a:lnTo>
                      <a:lnTo>
                        <a:pt x="203" y="269"/>
                      </a:lnTo>
                      <a:lnTo>
                        <a:pt x="219" y="282"/>
                      </a:lnTo>
                      <a:lnTo>
                        <a:pt x="226" y="280"/>
                      </a:lnTo>
                      <a:lnTo>
                        <a:pt x="235" y="272"/>
                      </a:lnTo>
                      <a:lnTo>
                        <a:pt x="238" y="258"/>
                      </a:lnTo>
                      <a:lnTo>
                        <a:pt x="241" y="258"/>
                      </a:lnTo>
                      <a:lnTo>
                        <a:pt x="245" y="269"/>
                      </a:lnTo>
                      <a:lnTo>
                        <a:pt x="249" y="258"/>
                      </a:lnTo>
                      <a:lnTo>
                        <a:pt x="260" y="259"/>
                      </a:lnTo>
                      <a:lnTo>
                        <a:pt x="271" y="254"/>
                      </a:lnTo>
                      <a:lnTo>
                        <a:pt x="283" y="243"/>
                      </a:lnTo>
                      <a:lnTo>
                        <a:pt x="286" y="233"/>
                      </a:lnTo>
                      <a:lnTo>
                        <a:pt x="289" y="223"/>
                      </a:lnTo>
                      <a:lnTo>
                        <a:pt x="286" y="214"/>
                      </a:lnTo>
                      <a:lnTo>
                        <a:pt x="286" y="188"/>
                      </a:lnTo>
                      <a:lnTo>
                        <a:pt x="284" y="178"/>
                      </a:lnTo>
                      <a:lnTo>
                        <a:pt x="279" y="170"/>
                      </a:lnTo>
                      <a:lnTo>
                        <a:pt x="274" y="171"/>
                      </a:lnTo>
                      <a:lnTo>
                        <a:pt x="275" y="168"/>
                      </a:lnTo>
                      <a:lnTo>
                        <a:pt x="278" y="166"/>
                      </a:lnTo>
                      <a:lnTo>
                        <a:pt x="285" y="171"/>
                      </a:lnTo>
                      <a:lnTo>
                        <a:pt x="286" y="175"/>
                      </a:lnTo>
                      <a:lnTo>
                        <a:pt x="295" y="181"/>
                      </a:lnTo>
                      <a:lnTo>
                        <a:pt x="303" y="178"/>
                      </a:lnTo>
                      <a:lnTo>
                        <a:pt x="326" y="164"/>
                      </a:lnTo>
                      <a:lnTo>
                        <a:pt x="339" y="163"/>
                      </a:lnTo>
                      <a:lnTo>
                        <a:pt x="346" y="166"/>
                      </a:lnTo>
                      <a:lnTo>
                        <a:pt x="351" y="165"/>
                      </a:lnTo>
                      <a:lnTo>
                        <a:pt x="365" y="147"/>
                      </a:lnTo>
                      <a:lnTo>
                        <a:pt x="370" y="127"/>
                      </a:lnTo>
                      <a:lnTo>
                        <a:pt x="369" y="116"/>
                      </a:lnTo>
                      <a:lnTo>
                        <a:pt x="371" y="95"/>
                      </a:lnTo>
                      <a:lnTo>
                        <a:pt x="366" y="80"/>
                      </a:lnTo>
                      <a:lnTo>
                        <a:pt x="334" y="62"/>
                      </a:lnTo>
                      <a:lnTo>
                        <a:pt x="286" y="58"/>
                      </a:lnTo>
                      <a:lnTo>
                        <a:pt x="264" y="42"/>
                      </a:lnTo>
                      <a:lnTo>
                        <a:pt x="249" y="36"/>
                      </a:lnTo>
                      <a:lnTo>
                        <a:pt x="242" y="36"/>
                      </a:lnTo>
                      <a:lnTo>
                        <a:pt x="237" y="28"/>
                      </a:lnTo>
                      <a:lnTo>
                        <a:pt x="230" y="0"/>
                      </a:lnTo>
                      <a:lnTo>
                        <a:pt x="244" y="23"/>
                      </a:lnTo>
                      <a:lnTo>
                        <a:pt x="270" y="31"/>
                      </a:lnTo>
                      <a:close/>
                    </a:path>
                  </a:pathLst>
                </a:custGeom>
                <a:solidFill>
                  <a:srgbClr val="72849C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lIns="68571" tIns="34286" rIns="68571" bIns="34286" anchor="ctr"/>
                <a:lstStyle/>
                <a:p>
                  <a:pPr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42" name="Region of Southern Denmark" descr="{&quot;Key&quot;:&quot;region of southern denmark&quot;,&quot;Name&quot;:&quot;Region of Southern Denmark&quot;,&quot;Value&quot;:1.0,&quot;Formula&quot;:&quot;1&quot;,&quot;Text&quot;:&quot;1&quot;,&quot;OfficeApplication&quot;:1,&quot;HasValue&quot;:true}"/>
                <p:cNvSpPr>
                  <a:spLocks noEditPoints="1"/>
                </p:cNvSpPr>
                <p:nvPr/>
              </p:nvSpPr>
              <p:spPr bwMode="auto">
                <a:xfrm>
                  <a:off x="3349625" y="3929063"/>
                  <a:ext cx="2574925" cy="1933575"/>
                </a:xfrm>
                <a:custGeom>
                  <a:avLst/>
                  <a:gdLst>
                    <a:gd name="T0" fmla="*/ 1467 w 1622"/>
                    <a:gd name="T1" fmla="*/ 987 h 1218"/>
                    <a:gd name="T2" fmla="*/ 1293 w 1622"/>
                    <a:gd name="T3" fmla="*/ 1060 h 1218"/>
                    <a:gd name="T4" fmla="*/ 1342 w 1622"/>
                    <a:gd name="T5" fmla="*/ 1053 h 1218"/>
                    <a:gd name="T6" fmla="*/ 1200 w 1622"/>
                    <a:gd name="T7" fmla="*/ 974 h 1218"/>
                    <a:gd name="T8" fmla="*/ 1341 w 1622"/>
                    <a:gd name="T9" fmla="*/ 947 h 1218"/>
                    <a:gd name="T10" fmla="*/ 1454 w 1622"/>
                    <a:gd name="T11" fmla="*/ 913 h 1218"/>
                    <a:gd name="T12" fmla="*/ 1408 w 1622"/>
                    <a:gd name="T13" fmla="*/ 991 h 1218"/>
                    <a:gd name="T14" fmla="*/ 1483 w 1622"/>
                    <a:gd name="T15" fmla="*/ 895 h 1218"/>
                    <a:gd name="T16" fmla="*/ 1163 w 1622"/>
                    <a:gd name="T17" fmla="*/ 895 h 1218"/>
                    <a:gd name="T18" fmla="*/ 1117 w 1622"/>
                    <a:gd name="T19" fmla="*/ 1047 h 1218"/>
                    <a:gd name="T20" fmla="*/ 1033 w 1622"/>
                    <a:gd name="T21" fmla="*/ 1039 h 1218"/>
                    <a:gd name="T22" fmla="*/ 1013 w 1622"/>
                    <a:gd name="T23" fmla="*/ 1002 h 1218"/>
                    <a:gd name="T24" fmla="*/ 898 w 1622"/>
                    <a:gd name="T25" fmla="*/ 926 h 1218"/>
                    <a:gd name="T26" fmla="*/ 940 w 1622"/>
                    <a:gd name="T27" fmla="*/ 864 h 1218"/>
                    <a:gd name="T28" fmla="*/ 1509 w 1622"/>
                    <a:gd name="T29" fmla="*/ 1154 h 1218"/>
                    <a:gd name="T30" fmla="*/ 1457 w 1622"/>
                    <a:gd name="T31" fmla="*/ 1092 h 1218"/>
                    <a:gd name="T32" fmla="*/ 1517 w 1622"/>
                    <a:gd name="T33" fmla="*/ 964 h 1218"/>
                    <a:gd name="T34" fmla="*/ 958 w 1622"/>
                    <a:gd name="T35" fmla="*/ 689 h 1218"/>
                    <a:gd name="T36" fmla="*/ 927 w 1622"/>
                    <a:gd name="T37" fmla="*/ 596 h 1218"/>
                    <a:gd name="T38" fmla="*/ 169 w 1622"/>
                    <a:gd name="T39" fmla="*/ 538 h 1218"/>
                    <a:gd name="T40" fmla="*/ 1427 w 1622"/>
                    <a:gd name="T41" fmla="*/ 378 h 1218"/>
                    <a:gd name="T42" fmla="*/ 1480 w 1622"/>
                    <a:gd name="T43" fmla="*/ 427 h 1218"/>
                    <a:gd name="T44" fmla="*/ 1390 w 1622"/>
                    <a:gd name="T45" fmla="*/ 508 h 1218"/>
                    <a:gd name="T46" fmla="*/ 1558 w 1622"/>
                    <a:gd name="T47" fmla="*/ 651 h 1218"/>
                    <a:gd name="T48" fmla="*/ 1505 w 1622"/>
                    <a:gd name="T49" fmla="*/ 657 h 1218"/>
                    <a:gd name="T50" fmla="*/ 1469 w 1622"/>
                    <a:gd name="T51" fmla="*/ 890 h 1218"/>
                    <a:gd name="T52" fmla="*/ 1279 w 1622"/>
                    <a:gd name="T53" fmla="*/ 897 h 1218"/>
                    <a:gd name="T54" fmla="*/ 1201 w 1622"/>
                    <a:gd name="T55" fmla="*/ 889 h 1218"/>
                    <a:gd name="T56" fmla="*/ 1159 w 1622"/>
                    <a:gd name="T57" fmla="*/ 784 h 1218"/>
                    <a:gd name="T58" fmla="*/ 1073 w 1622"/>
                    <a:gd name="T59" fmla="*/ 817 h 1218"/>
                    <a:gd name="T60" fmla="*/ 1020 w 1622"/>
                    <a:gd name="T61" fmla="*/ 686 h 1218"/>
                    <a:gd name="T62" fmla="*/ 986 w 1622"/>
                    <a:gd name="T63" fmla="*/ 540 h 1218"/>
                    <a:gd name="T64" fmla="*/ 962 w 1622"/>
                    <a:gd name="T65" fmla="*/ 492 h 1218"/>
                    <a:gd name="T66" fmla="*/ 1000 w 1622"/>
                    <a:gd name="T67" fmla="*/ 430 h 1218"/>
                    <a:gd name="T68" fmla="*/ 1242 w 1622"/>
                    <a:gd name="T69" fmla="*/ 350 h 1218"/>
                    <a:gd name="T70" fmla="*/ 1366 w 1622"/>
                    <a:gd name="T71" fmla="*/ 423 h 1218"/>
                    <a:gd name="T72" fmla="*/ 1326 w 1622"/>
                    <a:gd name="T73" fmla="*/ 517 h 1218"/>
                    <a:gd name="T74" fmla="*/ 1430 w 1622"/>
                    <a:gd name="T75" fmla="*/ 475 h 1218"/>
                    <a:gd name="T76" fmla="*/ 1422 w 1622"/>
                    <a:gd name="T77" fmla="*/ 371 h 1218"/>
                    <a:gd name="T78" fmla="*/ 1184 w 1622"/>
                    <a:gd name="T79" fmla="*/ 345 h 1218"/>
                    <a:gd name="T80" fmla="*/ 779 w 1622"/>
                    <a:gd name="T81" fmla="*/ 93 h 1218"/>
                    <a:gd name="T82" fmla="*/ 848 w 1622"/>
                    <a:gd name="T83" fmla="*/ 251 h 1218"/>
                    <a:gd name="T84" fmla="*/ 955 w 1622"/>
                    <a:gd name="T85" fmla="*/ 386 h 1218"/>
                    <a:gd name="T86" fmla="*/ 853 w 1622"/>
                    <a:gd name="T87" fmla="*/ 437 h 1218"/>
                    <a:gd name="T88" fmla="*/ 858 w 1622"/>
                    <a:gd name="T89" fmla="*/ 527 h 1218"/>
                    <a:gd name="T90" fmla="*/ 887 w 1622"/>
                    <a:gd name="T91" fmla="*/ 666 h 1218"/>
                    <a:gd name="T92" fmla="*/ 911 w 1622"/>
                    <a:gd name="T93" fmla="*/ 731 h 1218"/>
                    <a:gd name="T94" fmla="*/ 784 w 1622"/>
                    <a:gd name="T95" fmla="*/ 828 h 1218"/>
                    <a:gd name="T96" fmla="*/ 759 w 1622"/>
                    <a:gd name="T97" fmla="*/ 906 h 1218"/>
                    <a:gd name="T98" fmla="*/ 906 w 1622"/>
                    <a:gd name="T99" fmla="*/ 953 h 1218"/>
                    <a:gd name="T100" fmla="*/ 918 w 1622"/>
                    <a:gd name="T101" fmla="*/ 1097 h 1218"/>
                    <a:gd name="T102" fmla="*/ 866 w 1622"/>
                    <a:gd name="T103" fmla="*/ 1030 h 1218"/>
                    <a:gd name="T104" fmla="*/ 756 w 1622"/>
                    <a:gd name="T105" fmla="*/ 1105 h 1218"/>
                    <a:gd name="T106" fmla="*/ 547 w 1622"/>
                    <a:gd name="T107" fmla="*/ 1072 h 1218"/>
                    <a:gd name="T108" fmla="*/ 322 w 1622"/>
                    <a:gd name="T109" fmla="*/ 859 h 1218"/>
                    <a:gd name="T110" fmla="*/ 242 w 1622"/>
                    <a:gd name="T111" fmla="*/ 890 h 1218"/>
                    <a:gd name="T112" fmla="*/ 292 w 1622"/>
                    <a:gd name="T113" fmla="*/ 763 h 1218"/>
                    <a:gd name="T114" fmla="*/ 331 w 1622"/>
                    <a:gd name="T115" fmla="*/ 704 h 1218"/>
                    <a:gd name="T116" fmla="*/ 257 w 1622"/>
                    <a:gd name="T117" fmla="*/ 670 h 1218"/>
                    <a:gd name="T118" fmla="*/ 200 w 1622"/>
                    <a:gd name="T119" fmla="*/ 494 h 1218"/>
                    <a:gd name="T120" fmla="*/ 123 w 1622"/>
                    <a:gd name="T121" fmla="*/ 477 h 1218"/>
                    <a:gd name="T122" fmla="*/ 196 w 1622"/>
                    <a:gd name="T123" fmla="*/ 156 h 1218"/>
                    <a:gd name="T124" fmla="*/ 497 w 1622"/>
                    <a:gd name="T125" fmla="*/ 109 h 1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622" h="1218">
                      <a:moveTo>
                        <a:pt x="1436" y="1042"/>
                      </a:moveTo>
                      <a:lnTo>
                        <a:pt x="1435" y="1049"/>
                      </a:lnTo>
                      <a:lnTo>
                        <a:pt x="1428" y="1054"/>
                      </a:lnTo>
                      <a:lnTo>
                        <a:pt x="1426" y="1053"/>
                      </a:lnTo>
                      <a:lnTo>
                        <a:pt x="1421" y="1044"/>
                      </a:lnTo>
                      <a:lnTo>
                        <a:pt x="1422" y="1043"/>
                      </a:lnTo>
                      <a:lnTo>
                        <a:pt x="1419" y="1039"/>
                      </a:lnTo>
                      <a:lnTo>
                        <a:pt x="1416" y="1030"/>
                      </a:lnTo>
                      <a:lnTo>
                        <a:pt x="1432" y="1027"/>
                      </a:lnTo>
                      <a:lnTo>
                        <a:pt x="1435" y="1029"/>
                      </a:lnTo>
                      <a:lnTo>
                        <a:pt x="1433" y="1035"/>
                      </a:lnTo>
                      <a:lnTo>
                        <a:pt x="1436" y="1042"/>
                      </a:lnTo>
                      <a:close/>
                      <a:moveTo>
                        <a:pt x="1360" y="1027"/>
                      </a:moveTo>
                      <a:lnTo>
                        <a:pt x="1361" y="1031"/>
                      </a:lnTo>
                      <a:lnTo>
                        <a:pt x="1351" y="1028"/>
                      </a:lnTo>
                      <a:lnTo>
                        <a:pt x="1355" y="1021"/>
                      </a:lnTo>
                      <a:lnTo>
                        <a:pt x="1360" y="1027"/>
                      </a:lnTo>
                      <a:close/>
                      <a:moveTo>
                        <a:pt x="1368" y="1011"/>
                      </a:moveTo>
                      <a:lnTo>
                        <a:pt x="1372" y="1018"/>
                      </a:lnTo>
                      <a:lnTo>
                        <a:pt x="1365" y="1019"/>
                      </a:lnTo>
                      <a:lnTo>
                        <a:pt x="1363" y="1011"/>
                      </a:lnTo>
                      <a:lnTo>
                        <a:pt x="1366" y="1007"/>
                      </a:lnTo>
                      <a:lnTo>
                        <a:pt x="1368" y="1011"/>
                      </a:lnTo>
                      <a:close/>
                      <a:moveTo>
                        <a:pt x="1459" y="985"/>
                      </a:moveTo>
                      <a:lnTo>
                        <a:pt x="1467" y="987"/>
                      </a:lnTo>
                      <a:lnTo>
                        <a:pt x="1470" y="985"/>
                      </a:lnTo>
                      <a:lnTo>
                        <a:pt x="1478" y="988"/>
                      </a:lnTo>
                      <a:lnTo>
                        <a:pt x="1480" y="996"/>
                      </a:lnTo>
                      <a:lnTo>
                        <a:pt x="1473" y="996"/>
                      </a:lnTo>
                      <a:lnTo>
                        <a:pt x="1470" y="991"/>
                      </a:lnTo>
                      <a:lnTo>
                        <a:pt x="1467" y="992"/>
                      </a:lnTo>
                      <a:lnTo>
                        <a:pt x="1466" y="988"/>
                      </a:lnTo>
                      <a:lnTo>
                        <a:pt x="1458" y="987"/>
                      </a:lnTo>
                      <a:lnTo>
                        <a:pt x="1459" y="985"/>
                      </a:lnTo>
                      <a:close/>
                      <a:moveTo>
                        <a:pt x="1364" y="979"/>
                      </a:moveTo>
                      <a:lnTo>
                        <a:pt x="1360" y="987"/>
                      </a:lnTo>
                      <a:lnTo>
                        <a:pt x="1357" y="987"/>
                      </a:lnTo>
                      <a:lnTo>
                        <a:pt x="1352" y="979"/>
                      </a:lnTo>
                      <a:lnTo>
                        <a:pt x="1360" y="980"/>
                      </a:lnTo>
                      <a:lnTo>
                        <a:pt x="1364" y="978"/>
                      </a:lnTo>
                      <a:lnTo>
                        <a:pt x="1364" y="979"/>
                      </a:lnTo>
                      <a:close/>
                      <a:moveTo>
                        <a:pt x="1200" y="974"/>
                      </a:moveTo>
                      <a:lnTo>
                        <a:pt x="1209" y="977"/>
                      </a:lnTo>
                      <a:lnTo>
                        <a:pt x="1211" y="986"/>
                      </a:lnTo>
                      <a:lnTo>
                        <a:pt x="1227" y="1003"/>
                      </a:lnTo>
                      <a:lnTo>
                        <a:pt x="1243" y="1006"/>
                      </a:lnTo>
                      <a:lnTo>
                        <a:pt x="1267" y="1030"/>
                      </a:lnTo>
                      <a:lnTo>
                        <a:pt x="1274" y="1044"/>
                      </a:lnTo>
                      <a:lnTo>
                        <a:pt x="1289" y="1049"/>
                      </a:lnTo>
                      <a:lnTo>
                        <a:pt x="1293" y="1060"/>
                      </a:lnTo>
                      <a:lnTo>
                        <a:pt x="1300" y="1058"/>
                      </a:lnTo>
                      <a:lnTo>
                        <a:pt x="1314" y="1041"/>
                      </a:lnTo>
                      <a:lnTo>
                        <a:pt x="1311" y="1037"/>
                      </a:lnTo>
                      <a:lnTo>
                        <a:pt x="1304" y="1034"/>
                      </a:lnTo>
                      <a:lnTo>
                        <a:pt x="1304" y="1031"/>
                      </a:lnTo>
                      <a:lnTo>
                        <a:pt x="1307" y="1031"/>
                      </a:lnTo>
                      <a:lnTo>
                        <a:pt x="1317" y="1042"/>
                      </a:lnTo>
                      <a:lnTo>
                        <a:pt x="1316" y="1046"/>
                      </a:lnTo>
                      <a:lnTo>
                        <a:pt x="1314" y="1045"/>
                      </a:lnTo>
                      <a:lnTo>
                        <a:pt x="1313" y="1047"/>
                      </a:lnTo>
                      <a:lnTo>
                        <a:pt x="1317" y="1053"/>
                      </a:lnTo>
                      <a:lnTo>
                        <a:pt x="1321" y="1067"/>
                      </a:lnTo>
                      <a:lnTo>
                        <a:pt x="1330" y="1078"/>
                      </a:lnTo>
                      <a:lnTo>
                        <a:pt x="1336" y="1082"/>
                      </a:lnTo>
                      <a:lnTo>
                        <a:pt x="1342" y="1077"/>
                      </a:lnTo>
                      <a:lnTo>
                        <a:pt x="1344" y="1069"/>
                      </a:lnTo>
                      <a:lnTo>
                        <a:pt x="1355" y="1080"/>
                      </a:lnTo>
                      <a:lnTo>
                        <a:pt x="1357" y="1078"/>
                      </a:lnTo>
                      <a:lnTo>
                        <a:pt x="1353" y="1074"/>
                      </a:lnTo>
                      <a:lnTo>
                        <a:pt x="1353" y="1071"/>
                      </a:lnTo>
                      <a:lnTo>
                        <a:pt x="1344" y="1059"/>
                      </a:lnTo>
                      <a:lnTo>
                        <a:pt x="1337" y="1055"/>
                      </a:lnTo>
                      <a:lnTo>
                        <a:pt x="1337" y="1052"/>
                      </a:lnTo>
                      <a:lnTo>
                        <a:pt x="1349" y="1051"/>
                      </a:lnTo>
                      <a:lnTo>
                        <a:pt x="1342" y="1053"/>
                      </a:lnTo>
                      <a:lnTo>
                        <a:pt x="1342" y="1057"/>
                      </a:lnTo>
                      <a:lnTo>
                        <a:pt x="1349" y="1058"/>
                      </a:lnTo>
                      <a:lnTo>
                        <a:pt x="1378" y="1086"/>
                      </a:lnTo>
                      <a:lnTo>
                        <a:pt x="1379" y="1095"/>
                      </a:lnTo>
                      <a:lnTo>
                        <a:pt x="1377" y="1098"/>
                      </a:lnTo>
                      <a:lnTo>
                        <a:pt x="1384" y="1097"/>
                      </a:lnTo>
                      <a:lnTo>
                        <a:pt x="1381" y="1094"/>
                      </a:lnTo>
                      <a:lnTo>
                        <a:pt x="1380" y="1089"/>
                      </a:lnTo>
                      <a:lnTo>
                        <a:pt x="1387" y="1096"/>
                      </a:lnTo>
                      <a:lnTo>
                        <a:pt x="1379" y="1099"/>
                      </a:lnTo>
                      <a:lnTo>
                        <a:pt x="1342" y="1104"/>
                      </a:lnTo>
                      <a:lnTo>
                        <a:pt x="1334" y="1108"/>
                      </a:lnTo>
                      <a:lnTo>
                        <a:pt x="1330" y="1112"/>
                      </a:lnTo>
                      <a:lnTo>
                        <a:pt x="1329" y="1121"/>
                      </a:lnTo>
                      <a:lnTo>
                        <a:pt x="1321" y="1127"/>
                      </a:lnTo>
                      <a:lnTo>
                        <a:pt x="1309" y="1115"/>
                      </a:lnTo>
                      <a:lnTo>
                        <a:pt x="1294" y="1106"/>
                      </a:lnTo>
                      <a:lnTo>
                        <a:pt x="1277" y="1087"/>
                      </a:lnTo>
                      <a:lnTo>
                        <a:pt x="1265" y="1068"/>
                      </a:lnTo>
                      <a:lnTo>
                        <a:pt x="1247" y="1055"/>
                      </a:lnTo>
                      <a:lnTo>
                        <a:pt x="1223" y="1026"/>
                      </a:lnTo>
                      <a:lnTo>
                        <a:pt x="1219" y="1004"/>
                      </a:lnTo>
                      <a:lnTo>
                        <a:pt x="1204" y="988"/>
                      </a:lnTo>
                      <a:lnTo>
                        <a:pt x="1201" y="982"/>
                      </a:lnTo>
                      <a:lnTo>
                        <a:pt x="1200" y="974"/>
                      </a:lnTo>
                      <a:close/>
                      <a:moveTo>
                        <a:pt x="1322" y="962"/>
                      </a:moveTo>
                      <a:lnTo>
                        <a:pt x="1332" y="976"/>
                      </a:lnTo>
                      <a:lnTo>
                        <a:pt x="1324" y="983"/>
                      </a:lnTo>
                      <a:lnTo>
                        <a:pt x="1321" y="983"/>
                      </a:lnTo>
                      <a:lnTo>
                        <a:pt x="1303" y="969"/>
                      </a:lnTo>
                      <a:lnTo>
                        <a:pt x="1298" y="970"/>
                      </a:lnTo>
                      <a:lnTo>
                        <a:pt x="1293" y="975"/>
                      </a:lnTo>
                      <a:lnTo>
                        <a:pt x="1289" y="974"/>
                      </a:lnTo>
                      <a:lnTo>
                        <a:pt x="1287" y="969"/>
                      </a:lnTo>
                      <a:lnTo>
                        <a:pt x="1292" y="967"/>
                      </a:lnTo>
                      <a:lnTo>
                        <a:pt x="1294" y="968"/>
                      </a:lnTo>
                      <a:lnTo>
                        <a:pt x="1298" y="964"/>
                      </a:lnTo>
                      <a:lnTo>
                        <a:pt x="1301" y="965"/>
                      </a:lnTo>
                      <a:lnTo>
                        <a:pt x="1301" y="968"/>
                      </a:lnTo>
                      <a:lnTo>
                        <a:pt x="1314" y="968"/>
                      </a:lnTo>
                      <a:lnTo>
                        <a:pt x="1317" y="971"/>
                      </a:lnTo>
                      <a:lnTo>
                        <a:pt x="1322" y="972"/>
                      </a:lnTo>
                      <a:lnTo>
                        <a:pt x="1324" y="969"/>
                      </a:lnTo>
                      <a:lnTo>
                        <a:pt x="1322" y="962"/>
                      </a:lnTo>
                      <a:close/>
                      <a:moveTo>
                        <a:pt x="1346" y="935"/>
                      </a:moveTo>
                      <a:lnTo>
                        <a:pt x="1355" y="938"/>
                      </a:lnTo>
                      <a:lnTo>
                        <a:pt x="1361" y="945"/>
                      </a:lnTo>
                      <a:lnTo>
                        <a:pt x="1352" y="943"/>
                      </a:lnTo>
                      <a:lnTo>
                        <a:pt x="1347" y="948"/>
                      </a:lnTo>
                      <a:lnTo>
                        <a:pt x="1341" y="947"/>
                      </a:lnTo>
                      <a:lnTo>
                        <a:pt x="1339" y="941"/>
                      </a:lnTo>
                      <a:lnTo>
                        <a:pt x="1345" y="932"/>
                      </a:lnTo>
                      <a:lnTo>
                        <a:pt x="1346" y="935"/>
                      </a:lnTo>
                      <a:close/>
                      <a:moveTo>
                        <a:pt x="1238" y="924"/>
                      </a:moveTo>
                      <a:lnTo>
                        <a:pt x="1243" y="928"/>
                      </a:lnTo>
                      <a:lnTo>
                        <a:pt x="1253" y="927"/>
                      </a:lnTo>
                      <a:lnTo>
                        <a:pt x="1263" y="934"/>
                      </a:lnTo>
                      <a:lnTo>
                        <a:pt x="1274" y="930"/>
                      </a:lnTo>
                      <a:lnTo>
                        <a:pt x="1275" y="941"/>
                      </a:lnTo>
                      <a:lnTo>
                        <a:pt x="1270" y="943"/>
                      </a:lnTo>
                      <a:lnTo>
                        <a:pt x="1259" y="936"/>
                      </a:lnTo>
                      <a:lnTo>
                        <a:pt x="1251" y="929"/>
                      </a:lnTo>
                      <a:lnTo>
                        <a:pt x="1229" y="929"/>
                      </a:lnTo>
                      <a:lnTo>
                        <a:pt x="1217" y="916"/>
                      </a:lnTo>
                      <a:lnTo>
                        <a:pt x="1219" y="910"/>
                      </a:lnTo>
                      <a:lnTo>
                        <a:pt x="1226" y="908"/>
                      </a:lnTo>
                      <a:lnTo>
                        <a:pt x="1234" y="916"/>
                      </a:lnTo>
                      <a:lnTo>
                        <a:pt x="1238" y="924"/>
                      </a:lnTo>
                      <a:close/>
                      <a:moveTo>
                        <a:pt x="1440" y="893"/>
                      </a:moveTo>
                      <a:lnTo>
                        <a:pt x="1443" y="895"/>
                      </a:lnTo>
                      <a:lnTo>
                        <a:pt x="1441" y="899"/>
                      </a:lnTo>
                      <a:lnTo>
                        <a:pt x="1446" y="902"/>
                      </a:lnTo>
                      <a:lnTo>
                        <a:pt x="1444" y="911"/>
                      </a:lnTo>
                      <a:lnTo>
                        <a:pt x="1447" y="913"/>
                      </a:lnTo>
                      <a:lnTo>
                        <a:pt x="1454" y="913"/>
                      </a:lnTo>
                      <a:lnTo>
                        <a:pt x="1455" y="922"/>
                      </a:lnTo>
                      <a:lnTo>
                        <a:pt x="1453" y="926"/>
                      </a:lnTo>
                      <a:lnTo>
                        <a:pt x="1449" y="927"/>
                      </a:lnTo>
                      <a:lnTo>
                        <a:pt x="1444" y="949"/>
                      </a:lnTo>
                      <a:lnTo>
                        <a:pt x="1441" y="952"/>
                      </a:lnTo>
                      <a:lnTo>
                        <a:pt x="1439" y="953"/>
                      </a:lnTo>
                      <a:lnTo>
                        <a:pt x="1438" y="950"/>
                      </a:lnTo>
                      <a:lnTo>
                        <a:pt x="1435" y="957"/>
                      </a:lnTo>
                      <a:lnTo>
                        <a:pt x="1441" y="965"/>
                      </a:lnTo>
                      <a:lnTo>
                        <a:pt x="1453" y="968"/>
                      </a:lnTo>
                      <a:lnTo>
                        <a:pt x="1460" y="961"/>
                      </a:lnTo>
                      <a:lnTo>
                        <a:pt x="1462" y="952"/>
                      </a:lnTo>
                      <a:lnTo>
                        <a:pt x="1469" y="949"/>
                      </a:lnTo>
                      <a:lnTo>
                        <a:pt x="1473" y="950"/>
                      </a:lnTo>
                      <a:lnTo>
                        <a:pt x="1470" y="961"/>
                      </a:lnTo>
                      <a:lnTo>
                        <a:pt x="1471" y="972"/>
                      </a:lnTo>
                      <a:lnTo>
                        <a:pt x="1470" y="975"/>
                      </a:lnTo>
                      <a:lnTo>
                        <a:pt x="1469" y="972"/>
                      </a:lnTo>
                      <a:lnTo>
                        <a:pt x="1461" y="972"/>
                      </a:lnTo>
                      <a:lnTo>
                        <a:pt x="1451" y="974"/>
                      </a:lnTo>
                      <a:lnTo>
                        <a:pt x="1446" y="982"/>
                      </a:lnTo>
                      <a:lnTo>
                        <a:pt x="1441" y="984"/>
                      </a:lnTo>
                      <a:lnTo>
                        <a:pt x="1433" y="997"/>
                      </a:lnTo>
                      <a:lnTo>
                        <a:pt x="1412" y="990"/>
                      </a:lnTo>
                      <a:lnTo>
                        <a:pt x="1408" y="991"/>
                      </a:lnTo>
                      <a:lnTo>
                        <a:pt x="1415" y="999"/>
                      </a:lnTo>
                      <a:lnTo>
                        <a:pt x="1405" y="996"/>
                      </a:lnTo>
                      <a:lnTo>
                        <a:pt x="1396" y="1003"/>
                      </a:lnTo>
                      <a:lnTo>
                        <a:pt x="1397" y="999"/>
                      </a:lnTo>
                      <a:lnTo>
                        <a:pt x="1402" y="994"/>
                      </a:lnTo>
                      <a:lnTo>
                        <a:pt x="1400" y="992"/>
                      </a:lnTo>
                      <a:lnTo>
                        <a:pt x="1393" y="993"/>
                      </a:lnTo>
                      <a:lnTo>
                        <a:pt x="1394" y="983"/>
                      </a:lnTo>
                      <a:lnTo>
                        <a:pt x="1383" y="974"/>
                      </a:lnTo>
                      <a:lnTo>
                        <a:pt x="1380" y="969"/>
                      </a:lnTo>
                      <a:lnTo>
                        <a:pt x="1379" y="954"/>
                      </a:lnTo>
                      <a:lnTo>
                        <a:pt x="1382" y="950"/>
                      </a:lnTo>
                      <a:lnTo>
                        <a:pt x="1375" y="947"/>
                      </a:lnTo>
                      <a:lnTo>
                        <a:pt x="1374" y="938"/>
                      </a:lnTo>
                      <a:lnTo>
                        <a:pt x="1384" y="938"/>
                      </a:lnTo>
                      <a:lnTo>
                        <a:pt x="1391" y="929"/>
                      </a:lnTo>
                      <a:lnTo>
                        <a:pt x="1407" y="921"/>
                      </a:lnTo>
                      <a:lnTo>
                        <a:pt x="1414" y="911"/>
                      </a:lnTo>
                      <a:lnTo>
                        <a:pt x="1421" y="910"/>
                      </a:lnTo>
                      <a:lnTo>
                        <a:pt x="1425" y="902"/>
                      </a:lnTo>
                      <a:lnTo>
                        <a:pt x="1436" y="895"/>
                      </a:lnTo>
                      <a:lnTo>
                        <a:pt x="1434" y="893"/>
                      </a:lnTo>
                      <a:lnTo>
                        <a:pt x="1440" y="893"/>
                      </a:lnTo>
                      <a:close/>
                      <a:moveTo>
                        <a:pt x="1479" y="892"/>
                      </a:moveTo>
                      <a:lnTo>
                        <a:pt x="1483" y="895"/>
                      </a:lnTo>
                      <a:lnTo>
                        <a:pt x="1488" y="917"/>
                      </a:lnTo>
                      <a:lnTo>
                        <a:pt x="1484" y="917"/>
                      </a:lnTo>
                      <a:lnTo>
                        <a:pt x="1480" y="914"/>
                      </a:lnTo>
                      <a:lnTo>
                        <a:pt x="1468" y="918"/>
                      </a:lnTo>
                      <a:lnTo>
                        <a:pt x="1460" y="917"/>
                      </a:lnTo>
                      <a:lnTo>
                        <a:pt x="1462" y="910"/>
                      </a:lnTo>
                      <a:lnTo>
                        <a:pt x="1473" y="909"/>
                      </a:lnTo>
                      <a:lnTo>
                        <a:pt x="1479" y="906"/>
                      </a:lnTo>
                      <a:lnTo>
                        <a:pt x="1461" y="905"/>
                      </a:lnTo>
                      <a:lnTo>
                        <a:pt x="1451" y="910"/>
                      </a:lnTo>
                      <a:lnTo>
                        <a:pt x="1450" y="908"/>
                      </a:lnTo>
                      <a:lnTo>
                        <a:pt x="1448" y="899"/>
                      </a:lnTo>
                      <a:lnTo>
                        <a:pt x="1452" y="896"/>
                      </a:lnTo>
                      <a:lnTo>
                        <a:pt x="1461" y="898"/>
                      </a:lnTo>
                      <a:lnTo>
                        <a:pt x="1479" y="892"/>
                      </a:lnTo>
                      <a:close/>
                      <a:moveTo>
                        <a:pt x="1174" y="898"/>
                      </a:moveTo>
                      <a:lnTo>
                        <a:pt x="1182" y="900"/>
                      </a:lnTo>
                      <a:lnTo>
                        <a:pt x="1185" y="905"/>
                      </a:lnTo>
                      <a:lnTo>
                        <a:pt x="1179" y="911"/>
                      </a:lnTo>
                      <a:lnTo>
                        <a:pt x="1167" y="915"/>
                      </a:lnTo>
                      <a:lnTo>
                        <a:pt x="1161" y="913"/>
                      </a:lnTo>
                      <a:lnTo>
                        <a:pt x="1155" y="903"/>
                      </a:lnTo>
                      <a:lnTo>
                        <a:pt x="1154" y="894"/>
                      </a:lnTo>
                      <a:lnTo>
                        <a:pt x="1163" y="887"/>
                      </a:lnTo>
                      <a:lnTo>
                        <a:pt x="1163" y="895"/>
                      </a:lnTo>
                      <a:lnTo>
                        <a:pt x="1174" y="898"/>
                      </a:lnTo>
                      <a:close/>
                      <a:moveTo>
                        <a:pt x="1234" y="892"/>
                      </a:moveTo>
                      <a:lnTo>
                        <a:pt x="1234" y="894"/>
                      </a:lnTo>
                      <a:lnTo>
                        <a:pt x="1227" y="892"/>
                      </a:lnTo>
                      <a:lnTo>
                        <a:pt x="1219" y="885"/>
                      </a:lnTo>
                      <a:lnTo>
                        <a:pt x="1216" y="879"/>
                      </a:lnTo>
                      <a:lnTo>
                        <a:pt x="1217" y="876"/>
                      </a:lnTo>
                      <a:lnTo>
                        <a:pt x="1230" y="886"/>
                      </a:lnTo>
                      <a:lnTo>
                        <a:pt x="1234" y="892"/>
                      </a:lnTo>
                      <a:close/>
                      <a:moveTo>
                        <a:pt x="994" y="898"/>
                      </a:moveTo>
                      <a:lnTo>
                        <a:pt x="1001" y="901"/>
                      </a:lnTo>
                      <a:lnTo>
                        <a:pt x="1005" y="910"/>
                      </a:lnTo>
                      <a:lnTo>
                        <a:pt x="1016" y="920"/>
                      </a:lnTo>
                      <a:lnTo>
                        <a:pt x="1027" y="927"/>
                      </a:lnTo>
                      <a:lnTo>
                        <a:pt x="1042" y="928"/>
                      </a:lnTo>
                      <a:lnTo>
                        <a:pt x="1055" y="933"/>
                      </a:lnTo>
                      <a:lnTo>
                        <a:pt x="1064" y="941"/>
                      </a:lnTo>
                      <a:lnTo>
                        <a:pt x="1074" y="953"/>
                      </a:lnTo>
                      <a:lnTo>
                        <a:pt x="1076" y="955"/>
                      </a:lnTo>
                      <a:lnTo>
                        <a:pt x="1082" y="962"/>
                      </a:lnTo>
                      <a:lnTo>
                        <a:pt x="1099" y="995"/>
                      </a:lnTo>
                      <a:lnTo>
                        <a:pt x="1109" y="1014"/>
                      </a:lnTo>
                      <a:lnTo>
                        <a:pt x="1109" y="1026"/>
                      </a:lnTo>
                      <a:lnTo>
                        <a:pt x="1112" y="1035"/>
                      </a:lnTo>
                      <a:lnTo>
                        <a:pt x="1117" y="1047"/>
                      </a:lnTo>
                      <a:lnTo>
                        <a:pt x="1121" y="1050"/>
                      </a:lnTo>
                      <a:lnTo>
                        <a:pt x="1124" y="1067"/>
                      </a:lnTo>
                      <a:lnTo>
                        <a:pt x="1120" y="1071"/>
                      </a:lnTo>
                      <a:lnTo>
                        <a:pt x="1104" y="1069"/>
                      </a:lnTo>
                      <a:lnTo>
                        <a:pt x="1096" y="1072"/>
                      </a:lnTo>
                      <a:lnTo>
                        <a:pt x="1078" y="1091"/>
                      </a:lnTo>
                      <a:lnTo>
                        <a:pt x="1051" y="1090"/>
                      </a:lnTo>
                      <a:lnTo>
                        <a:pt x="1033" y="1080"/>
                      </a:lnTo>
                      <a:lnTo>
                        <a:pt x="1023" y="1079"/>
                      </a:lnTo>
                      <a:lnTo>
                        <a:pt x="1009" y="1067"/>
                      </a:lnTo>
                      <a:lnTo>
                        <a:pt x="1010" y="1065"/>
                      </a:lnTo>
                      <a:lnTo>
                        <a:pt x="1028" y="1047"/>
                      </a:lnTo>
                      <a:lnTo>
                        <a:pt x="1037" y="1061"/>
                      </a:lnTo>
                      <a:lnTo>
                        <a:pt x="1043" y="1062"/>
                      </a:lnTo>
                      <a:lnTo>
                        <a:pt x="1057" y="1070"/>
                      </a:lnTo>
                      <a:lnTo>
                        <a:pt x="1058" y="1076"/>
                      </a:lnTo>
                      <a:lnTo>
                        <a:pt x="1067" y="1076"/>
                      </a:lnTo>
                      <a:lnTo>
                        <a:pt x="1079" y="1087"/>
                      </a:lnTo>
                      <a:lnTo>
                        <a:pt x="1083" y="1083"/>
                      </a:lnTo>
                      <a:lnTo>
                        <a:pt x="1078" y="1071"/>
                      </a:lnTo>
                      <a:lnTo>
                        <a:pt x="1073" y="1065"/>
                      </a:lnTo>
                      <a:lnTo>
                        <a:pt x="1058" y="1055"/>
                      </a:lnTo>
                      <a:lnTo>
                        <a:pt x="1055" y="1051"/>
                      </a:lnTo>
                      <a:lnTo>
                        <a:pt x="1038" y="1044"/>
                      </a:lnTo>
                      <a:lnTo>
                        <a:pt x="1033" y="1039"/>
                      </a:lnTo>
                      <a:lnTo>
                        <a:pt x="1023" y="1037"/>
                      </a:lnTo>
                      <a:lnTo>
                        <a:pt x="1020" y="1038"/>
                      </a:lnTo>
                      <a:lnTo>
                        <a:pt x="1017" y="1045"/>
                      </a:lnTo>
                      <a:lnTo>
                        <a:pt x="1011" y="1044"/>
                      </a:lnTo>
                      <a:lnTo>
                        <a:pt x="989" y="1055"/>
                      </a:lnTo>
                      <a:lnTo>
                        <a:pt x="969" y="1047"/>
                      </a:lnTo>
                      <a:lnTo>
                        <a:pt x="962" y="1038"/>
                      </a:lnTo>
                      <a:lnTo>
                        <a:pt x="963" y="1034"/>
                      </a:lnTo>
                      <a:lnTo>
                        <a:pt x="961" y="1029"/>
                      </a:lnTo>
                      <a:lnTo>
                        <a:pt x="955" y="1026"/>
                      </a:lnTo>
                      <a:lnTo>
                        <a:pt x="955" y="1019"/>
                      </a:lnTo>
                      <a:lnTo>
                        <a:pt x="950" y="1011"/>
                      </a:lnTo>
                      <a:lnTo>
                        <a:pt x="951" y="1002"/>
                      </a:lnTo>
                      <a:lnTo>
                        <a:pt x="948" y="975"/>
                      </a:lnTo>
                      <a:lnTo>
                        <a:pt x="944" y="969"/>
                      </a:lnTo>
                      <a:lnTo>
                        <a:pt x="948" y="964"/>
                      </a:lnTo>
                      <a:lnTo>
                        <a:pt x="957" y="975"/>
                      </a:lnTo>
                      <a:lnTo>
                        <a:pt x="968" y="979"/>
                      </a:lnTo>
                      <a:lnTo>
                        <a:pt x="983" y="1004"/>
                      </a:lnTo>
                      <a:lnTo>
                        <a:pt x="988" y="1008"/>
                      </a:lnTo>
                      <a:lnTo>
                        <a:pt x="985" y="1012"/>
                      </a:lnTo>
                      <a:lnTo>
                        <a:pt x="991" y="1012"/>
                      </a:lnTo>
                      <a:lnTo>
                        <a:pt x="994" y="1011"/>
                      </a:lnTo>
                      <a:lnTo>
                        <a:pt x="1013" y="1003"/>
                      </a:lnTo>
                      <a:lnTo>
                        <a:pt x="1013" y="1002"/>
                      </a:lnTo>
                      <a:lnTo>
                        <a:pt x="1001" y="1004"/>
                      </a:lnTo>
                      <a:lnTo>
                        <a:pt x="991" y="997"/>
                      </a:lnTo>
                      <a:lnTo>
                        <a:pt x="1003" y="992"/>
                      </a:lnTo>
                      <a:lnTo>
                        <a:pt x="1002" y="990"/>
                      </a:lnTo>
                      <a:lnTo>
                        <a:pt x="994" y="992"/>
                      </a:lnTo>
                      <a:lnTo>
                        <a:pt x="990" y="989"/>
                      </a:lnTo>
                      <a:lnTo>
                        <a:pt x="995" y="980"/>
                      </a:lnTo>
                      <a:lnTo>
                        <a:pt x="1001" y="981"/>
                      </a:lnTo>
                      <a:lnTo>
                        <a:pt x="1002" y="979"/>
                      </a:lnTo>
                      <a:lnTo>
                        <a:pt x="1001" y="977"/>
                      </a:lnTo>
                      <a:lnTo>
                        <a:pt x="997" y="977"/>
                      </a:lnTo>
                      <a:lnTo>
                        <a:pt x="984" y="967"/>
                      </a:lnTo>
                      <a:lnTo>
                        <a:pt x="963" y="964"/>
                      </a:lnTo>
                      <a:lnTo>
                        <a:pt x="961" y="959"/>
                      </a:lnTo>
                      <a:lnTo>
                        <a:pt x="963" y="955"/>
                      </a:lnTo>
                      <a:lnTo>
                        <a:pt x="973" y="951"/>
                      </a:lnTo>
                      <a:lnTo>
                        <a:pt x="961" y="954"/>
                      </a:lnTo>
                      <a:lnTo>
                        <a:pt x="958" y="951"/>
                      </a:lnTo>
                      <a:lnTo>
                        <a:pt x="959" y="948"/>
                      </a:lnTo>
                      <a:lnTo>
                        <a:pt x="967" y="944"/>
                      </a:lnTo>
                      <a:lnTo>
                        <a:pt x="968" y="937"/>
                      </a:lnTo>
                      <a:lnTo>
                        <a:pt x="952" y="935"/>
                      </a:lnTo>
                      <a:lnTo>
                        <a:pt x="916" y="941"/>
                      </a:lnTo>
                      <a:lnTo>
                        <a:pt x="903" y="932"/>
                      </a:lnTo>
                      <a:lnTo>
                        <a:pt x="898" y="926"/>
                      </a:lnTo>
                      <a:lnTo>
                        <a:pt x="893" y="926"/>
                      </a:lnTo>
                      <a:lnTo>
                        <a:pt x="893" y="919"/>
                      </a:lnTo>
                      <a:lnTo>
                        <a:pt x="908" y="915"/>
                      </a:lnTo>
                      <a:lnTo>
                        <a:pt x="914" y="909"/>
                      </a:lnTo>
                      <a:lnTo>
                        <a:pt x="918" y="911"/>
                      </a:lnTo>
                      <a:lnTo>
                        <a:pt x="918" y="916"/>
                      </a:lnTo>
                      <a:lnTo>
                        <a:pt x="926" y="916"/>
                      </a:lnTo>
                      <a:lnTo>
                        <a:pt x="920" y="910"/>
                      </a:lnTo>
                      <a:lnTo>
                        <a:pt x="921" y="909"/>
                      </a:lnTo>
                      <a:lnTo>
                        <a:pt x="914" y="908"/>
                      </a:lnTo>
                      <a:lnTo>
                        <a:pt x="919" y="906"/>
                      </a:lnTo>
                      <a:lnTo>
                        <a:pt x="919" y="903"/>
                      </a:lnTo>
                      <a:lnTo>
                        <a:pt x="914" y="904"/>
                      </a:lnTo>
                      <a:lnTo>
                        <a:pt x="914" y="906"/>
                      </a:lnTo>
                      <a:lnTo>
                        <a:pt x="908" y="909"/>
                      </a:lnTo>
                      <a:lnTo>
                        <a:pt x="910" y="912"/>
                      </a:lnTo>
                      <a:lnTo>
                        <a:pt x="904" y="912"/>
                      </a:lnTo>
                      <a:lnTo>
                        <a:pt x="893" y="909"/>
                      </a:lnTo>
                      <a:lnTo>
                        <a:pt x="883" y="909"/>
                      </a:lnTo>
                      <a:lnTo>
                        <a:pt x="880" y="903"/>
                      </a:lnTo>
                      <a:lnTo>
                        <a:pt x="881" y="897"/>
                      </a:lnTo>
                      <a:lnTo>
                        <a:pt x="888" y="893"/>
                      </a:lnTo>
                      <a:lnTo>
                        <a:pt x="896" y="882"/>
                      </a:lnTo>
                      <a:lnTo>
                        <a:pt x="915" y="871"/>
                      </a:lnTo>
                      <a:lnTo>
                        <a:pt x="940" y="864"/>
                      </a:lnTo>
                      <a:lnTo>
                        <a:pt x="953" y="867"/>
                      </a:lnTo>
                      <a:lnTo>
                        <a:pt x="981" y="884"/>
                      </a:lnTo>
                      <a:lnTo>
                        <a:pt x="994" y="898"/>
                      </a:lnTo>
                      <a:close/>
                      <a:moveTo>
                        <a:pt x="843" y="836"/>
                      </a:moveTo>
                      <a:lnTo>
                        <a:pt x="841" y="838"/>
                      </a:lnTo>
                      <a:lnTo>
                        <a:pt x="832" y="838"/>
                      </a:lnTo>
                      <a:lnTo>
                        <a:pt x="831" y="831"/>
                      </a:lnTo>
                      <a:lnTo>
                        <a:pt x="828" y="830"/>
                      </a:lnTo>
                      <a:lnTo>
                        <a:pt x="828" y="824"/>
                      </a:lnTo>
                      <a:lnTo>
                        <a:pt x="830" y="818"/>
                      </a:lnTo>
                      <a:lnTo>
                        <a:pt x="837" y="819"/>
                      </a:lnTo>
                      <a:lnTo>
                        <a:pt x="843" y="828"/>
                      </a:lnTo>
                      <a:lnTo>
                        <a:pt x="843" y="836"/>
                      </a:lnTo>
                      <a:close/>
                      <a:moveTo>
                        <a:pt x="1622" y="803"/>
                      </a:moveTo>
                      <a:lnTo>
                        <a:pt x="1611" y="866"/>
                      </a:lnTo>
                      <a:lnTo>
                        <a:pt x="1588" y="939"/>
                      </a:lnTo>
                      <a:lnTo>
                        <a:pt x="1588" y="952"/>
                      </a:lnTo>
                      <a:lnTo>
                        <a:pt x="1567" y="978"/>
                      </a:lnTo>
                      <a:lnTo>
                        <a:pt x="1552" y="1013"/>
                      </a:lnTo>
                      <a:lnTo>
                        <a:pt x="1550" y="1028"/>
                      </a:lnTo>
                      <a:lnTo>
                        <a:pt x="1545" y="1036"/>
                      </a:lnTo>
                      <a:lnTo>
                        <a:pt x="1543" y="1059"/>
                      </a:lnTo>
                      <a:lnTo>
                        <a:pt x="1521" y="1114"/>
                      </a:lnTo>
                      <a:lnTo>
                        <a:pt x="1520" y="1124"/>
                      </a:lnTo>
                      <a:lnTo>
                        <a:pt x="1509" y="1154"/>
                      </a:lnTo>
                      <a:lnTo>
                        <a:pt x="1499" y="1197"/>
                      </a:lnTo>
                      <a:lnTo>
                        <a:pt x="1488" y="1213"/>
                      </a:lnTo>
                      <a:lnTo>
                        <a:pt x="1476" y="1218"/>
                      </a:lnTo>
                      <a:lnTo>
                        <a:pt x="1470" y="1216"/>
                      </a:lnTo>
                      <a:lnTo>
                        <a:pt x="1460" y="1201"/>
                      </a:lnTo>
                      <a:lnTo>
                        <a:pt x="1461" y="1199"/>
                      </a:lnTo>
                      <a:lnTo>
                        <a:pt x="1459" y="1192"/>
                      </a:lnTo>
                      <a:lnTo>
                        <a:pt x="1464" y="1189"/>
                      </a:lnTo>
                      <a:lnTo>
                        <a:pt x="1464" y="1183"/>
                      </a:lnTo>
                      <a:lnTo>
                        <a:pt x="1456" y="1162"/>
                      </a:lnTo>
                      <a:lnTo>
                        <a:pt x="1455" y="1145"/>
                      </a:lnTo>
                      <a:lnTo>
                        <a:pt x="1442" y="1125"/>
                      </a:lnTo>
                      <a:lnTo>
                        <a:pt x="1424" y="1112"/>
                      </a:lnTo>
                      <a:lnTo>
                        <a:pt x="1420" y="1104"/>
                      </a:lnTo>
                      <a:lnTo>
                        <a:pt x="1422" y="1104"/>
                      </a:lnTo>
                      <a:lnTo>
                        <a:pt x="1423" y="1107"/>
                      </a:lnTo>
                      <a:lnTo>
                        <a:pt x="1435" y="1107"/>
                      </a:lnTo>
                      <a:lnTo>
                        <a:pt x="1441" y="1112"/>
                      </a:lnTo>
                      <a:lnTo>
                        <a:pt x="1443" y="1110"/>
                      </a:lnTo>
                      <a:lnTo>
                        <a:pt x="1446" y="1110"/>
                      </a:lnTo>
                      <a:lnTo>
                        <a:pt x="1445" y="1114"/>
                      </a:lnTo>
                      <a:lnTo>
                        <a:pt x="1449" y="1112"/>
                      </a:lnTo>
                      <a:lnTo>
                        <a:pt x="1456" y="1097"/>
                      </a:lnTo>
                      <a:lnTo>
                        <a:pt x="1461" y="1095"/>
                      </a:lnTo>
                      <a:lnTo>
                        <a:pt x="1457" y="1092"/>
                      </a:lnTo>
                      <a:lnTo>
                        <a:pt x="1462" y="1063"/>
                      </a:lnTo>
                      <a:lnTo>
                        <a:pt x="1468" y="1062"/>
                      </a:lnTo>
                      <a:lnTo>
                        <a:pt x="1470" y="1070"/>
                      </a:lnTo>
                      <a:lnTo>
                        <a:pt x="1480" y="1074"/>
                      </a:lnTo>
                      <a:lnTo>
                        <a:pt x="1482" y="1068"/>
                      </a:lnTo>
                      <a:lnTo>
                        <a:pt x="1494" y="1067"/>
                      </a:lnTo>
                      <a:lnTo>
                        <a:pt x="1488" y="1060"/>
                      </a:lnTo>
                      <a:lnTo>
                        <a:pt x="1487" y="1055"/>
                      </a:lnTo>
                      <a:lnTo>
                        <a:pt x="1485" y="1051"/>
                      </a:lnTo>
                      <a:lnTo>
                        <a:pt x="1483" y="1047"/>
                      </a:lnTo>
                      <a:lnTo>
                        <a:pt x="1482" y="1037"/>
                      </a:lnTo>
                      <a:lnTo>
                        <a:pt x="1477" y="1047"/>
                      </a:lnTo>
                      <a:lnTo>
                        <a:pt x="1470" y="1043"/>
                      </a:lnTo>
                      <a:lnTo>
                        <a:pt x="1467" y="1046"/>
                      </a:lnTo>
                      <a:lnTo>
                        <a:pt x="1464" y="1034"/>
                      </a:lnTo>
                      <a:lnTo>
                        <a:pt x="1468" y="1031"/>
                      </a:lnTo>
                      <a:lnTo>
                        <a:pt x="1470" y="1022"/>
                      </a:lnTo>
                      <a:lnTo>
                        <a:pt x="1478" y="1015"/>
                      </a:lnTo>
                      <a:lnTo>
                        <a:pt x="1481" y="1007"/>
                      </a:lnTo>
                      <a:lnTo>
                        <a:pt x="1487" y="1003"/>
                      </a:lnTo>
                      <a:lnTo>
                        <a:pt x="1490" y="1001"/>
                      </a:lnTo>
                      <a:lnTo>
                        <a:pt x="1492" y="991"/>
                      </a:lnTo>
                      <a:lnTo>
                        <a:pt x="1510" y="971"/>
                      </a:lnTo>
                      <a:lnTo>
                        <a:pt x="1516" y="968"/>
                      </a:lnTo>
                      <a:lnTo>
                        <a:pt x="1517" y="964"/>
                      </a:lnTo>
                      <a:lnTo>
                        <a:pt x="1527" y="965"/>
                      </a:lnTo>
                      <a:lnTo>
                        <a:pt x="1540" y="952"/>
                      </a:lnTo>
                      <a:lnTo>
                        <a:pt x="1542" y="944"/>
                      </a:lnTo>
                      <a:lnTo>
                        <a:pt x="1548" y="936"/>
                      </a:lnTo>
                      <a:lnTo>
                        <a:pt x="1550" y="926"/>
                      </a:lnTo>
                      <a:lnTo>
                        <a:pt x="1561" y="913"/>
                      </a:lnTo>
                      <a:lnTo>
                        <a:pt x="1562" y="903"/>
                      </a:lnTo>
                      <a:lnTo>
                        <a:pt x="1569" y="888"/>
                      </a:lnTo>
                      <a:lnTo>
                        <a:pt x="1577" y="847"/>
                      </a:lnTo>
                      <a:lnTo>
                        <a:pt x="1590" y="823"/>
                      </a:lnTo>
                      <a:lnTo>
                        <a:pt x="1592" y="811"/>
                      </a:lnTo>
                      <a:lnTo>
                        <a:pt x="1603" y="801"/>
                      </a:lnTo>
                      <a:lnTo>
                        <a:pt x="1608" y="790"/>
                      </a:lnTo>
                      <a:lnTo>
                        <a:pt x="1613" y="785"/>
                      </a:lnTo>
                      <a:lnTo>
                        <a:pt x="1620" y="791"/>
                      </a:lnTo>
                      <a:lnTo>
                        <a:pt x="1622" y="803"/>
                      </a:lnTo>
                      <a:close/>
                      <a:moveTo>
                        <a:pt x="947" y="679"/>
                      </a:moveTo>
                      <a:lnTo>
                        <a:pt x="949" y="695"/>
                      </a:lnTo>
                      <a:lnTo>
                        <a:pt x="951" y="695"/>
                      </a:lnTo>
                      <a:lnTo>
                        <a:pt x="955" y="691"/>
                      </a:lnTo>
                      <a:lnTo>
                        <a:pt x="950" y="689"/>
                      </a:lnTo>
                      <a:lnTo>
                        <a:pt x="950" y="686"/>
                      </a:lnTo>
                      <a:lnTo>
                        <a:pt x="953" y="686"/>
                      </a:lnTo>
                      <a:lnTo>
                        <a:pt x="960" y="682"/>
                      </a:lnTo>
                      <a:lnTo>
                        <a:pt x="958" y="689"/>
                      </a:lnTo>
                      <a:lnTo>
                        <a:pt x="948" y="701"/>
                      </a:lnTo>
                      <a:lnTo>
                        <a:pt x="937" y="701"/>
                      </a:lnTo>
                      <a:lnTo>
                        <a:pt x="929" y="692"/>
                      </a:lnTo>
                      <a:lnTo>
                        <a:pt x="933" y="689"/>
                      </a:lnTo>
                      <a:lnTo>
                        <a:pt x="930" y="682"/>
                      </a:lnTo>
                      <a:lnTo>
                        <a:pt x="941" y="677"/>
                      </a:lnTo>
                      <a:lnTo>
                        <a:pt x="947" y="679"/>
                      </a:lnTo>
                      <a:close/>
                      <a:moveTo>
                        <a:pt x="983" y="625"/>
                      </a:moveTo>
                      <a:lnTo>
                        <a:pt x="988" y="641"/>
                      </a:lnTo>
                      <a:lnTo>
                        <a:pt x="987" y="650"/>
                      </a:lnTo>
                      <a:lnTo>
                        <a:pt x="971" y="657"/>
                      </a:lnTo>
                      <a:lnTo>
                        <a:pt x="969" y="654"/>
                      </a:lnTo>
                      <a:lnTo>
                        <a:pt x="969" y="641"/>
                      </a:lnTo>
                      <a:lnTo>
                        <a:pt x="966" y="636"/>
                      </a:lnTo>
                      <a:lnTo>
                        <a:pt x="969" y="626"/>
                      </a:lnTo>
                      <a:lnTo>
                        <a:pt x="978" y="633"/>
                      </a:lnTo>
                      <a:lnTo>
                        <a:pt x="978" y="629"/>
                      </a:lnTo>
                      <a:lnTo>
                        <a:pt x="975" y="629"/>
                      </a:lnTo>
                      <a:lnTo>
                        <a:pt x="983" y="625"/>
                      </a:lnTo>
                      <a:close/>
                      <a:moveTo>
                        <a:pt x="923" y="598"/>
                      </a:moveTo>
                      <a:lnTo>
                        <a:pt x="915" y="602"/>
                      </a:lnTo>
                      <a:lnTo>
                        <a:pt x="908" y="596"/>
                      </a:lnTo>
                      <a:lnTo>
                        <a:pt x="914" y="589"/>
                      </a:lnTo>
                      <a:lnTo>
                        <a:pt x="920" y="588"/>
                      </a:lnTo>
                      <a:lnTo>
                        <a:pt x="927" y="596"/>
                      </a:lnTo>
                      <a:lnTo>
                        <a:pt x="923" y="598"/>
                      </a:lnTo>
                      <a:close/>
                      <a:moveTo>
                        <a:pt x="152" y="495"/>
                      </a:moveTo>
                      <a:lnTo>
                        <a:pt x="155" y="500"/>
                      </a:lnTo>
                      <a:lnTo>
                        <a:pt x="158" y="492"/>
                      </a:lnTo>
                      <a:lnTo>
                        <a:pt x="167" y="485"/>
                      </a:lnTo>
                      <a:lnTo>
                        <a:pt x="180" y="485"/>
                      </a:lnTo>
                      <a:lnTo>
                        <a:pt x="188" y="489"/>
                      </a:lnTo>
                      <a:lnTo>
                        <a:pt x="186" y="518"/>
                      </a:lnTo>
                      <a:lnTo>
                        <a:pt x="189" y="524"/>
                      </a:lnTo>
                      <a:lnTo>
                        <a:pt x="194" y="528"/>
                      </a:lnTo>
                      <a:lnTo>
                        <a:pt x="201" y="517"/>
                      </a:lnTo>
                      <a:lnTo>
                        <a:pt x="206" y="515"/>
                      </a:lnTo>
                      <a:lnTo>
                        <a:pt x="214" y="521"/>
                      </a:lnTo>
                      <a:lnTo>
                        <a:pt x="213" y="526"/>
                      </a:lnTo>
                      <a:lnTo>
                        <a:pt x="220" y="547"/>
                      </a:lnTo>
                      <a:lnTo>
                        <a:pt x="210" y="558"/>
                      </a:lnTo>
                      <a:lnTo>
                        <a:pt x="211" y="563"/>
                      </a:lnTo>
                      <a:lnTo>
                        <a:pt x="221" y="575"/>
                      </a:lnTo>
                      <a:lnTo>
                        <a:pt x="224" y="597"/>
                      </a:lnTo>
                      <a:lnTo>
                        <a:pt x="230" y="597"/>
                      </a:lnTo>
                      <a:lnTo>
                        <a:pt x="223" y="610"/>
                      </a:lnTo>
                      <a:lnTo>
                        <a:pt x="225" y="613"/>
                      </a:lnTo>
                      <a:lnTo>
                        <a:pt x="212" y="611"/>
                      </a:lnTo>
                      <a:lnTo>
                        <a:pt x="197" y="600"/>
                      </a:lnTo>
                      <a:lnTo>
                        <a:pt x="169" y="538"/>
                      </a:lnTo>
                      <a:lnTo>
                        <a:pt x="156" y="520"/>
                      </a:lnTo>
                      <a:lnTo>
                        <a:pt x="144" y="512"/>
                      </a:lnTo>
                      <a:lnTo>
                        <a:pt x="142" y="496"/>
                      </a:lnTo>
                      <a:lnTo>
                        <a:pt x="160" y="484"/>
                      </a:lnTo>
                      <a:lnTo>
                        <a:pt x="152" y="495"/>
                      </a:lnTo>
                      <a:close/>
                      <a:moveTo>
                        <a:pt x="1351" y="488"/>
                      </a:moveTo>
                      <a:lnTo>
                        <a:pt x="1341" y="491"/>
                      </a:lnTo>
                      <a:lnTo>
                        <a:pt x="1340" y="487"/>
                      </a:lnTo>
                      <a:lnTo>
                        <a:pt x="1341" y="479"/>
                      </a:lnTo>
                      <a:lnTo>
                        <a:pt x="1345" y="474"/>
                      </a:lnTo>
                      <a:lnTo>
                        <a:pt x="1351" y="473"/>
                      </a:lnTo>
                      <a:lnTo>
                        <a:pt x="1346" y="481"/>
                      </a:lnTo>
                      <a:lnTo>
                        <a:pt x="1351" y="488"/>
                      </a:lnTo>
                      <a:close/>
                      <a:moveTo>
                        <a:pt x="916" y="478"/>
                      </a:moveTo>
                      <a:lnTo>
                        <a:pt x="909" y="477"/>
                      </a:lnTo>
                      <a:lnTo>
                        <a:pt x="908" y="471"/>
                      </a:lnTo>
                      <a:lnTo>
                        <a:pt x="902" y="462"/>
                      </a:lnTo>
                      <a:lnTo>
                        <a:pt x="904" y="453"/>
                      </a:lnTo>
                      <a:lnTo>
                        <a:pt x="911" y="456"/>
                      </a:lnTo>
                      <a:lnTo>
                        <a:pt x="918" y="467"/>
                      </a:lnTo>
                      <a:lnTo>
                        <a:pt x="924" y="468"/>
                      </a:lnTo>
                      <a:lnTo>
                        <a:pt x="924" y="474"/>
                      </a:lnTo>
                      <a:lnTo>
                        <a:pt x="916" y="478"/>
                      </a:lnTo>
                      <a:close/>
                      <a:moveTo>
                        <a:pt x="1429" y="378"/>
                      </a:moveTo>
                      <a:lnTo>
                        <a:pt x="1427" y="378"/>
                      </a:lnTo>
                      <a:lnTo>
                        <a:pt x="1426" y="372"/>
                      </a:lnTo>
                      <a:lnTo>
                        <a:pt x="1428" y="368"/>
                      </a:lnTo>
                      <a:lnTo>
                        <a:pt x="1429" y="378"/>
                      </a:lnTo>
                      <a:close/>
                      <a:moveTo>
                        <a:pt x="1430" y="356"/>
                      </a:moveTo>
                      <a:lnTo>
                        <a:pt x="1431" y="366"/>
                      </a:lnTo>
                      <a:lnTo>
                        <a:pt x="1435" y="367"/>
                      </a:lnTo>
                      <a:lnTo>
                        <a:pt x="1432" y="368"/>
                      </a:lnTo>
                      <a:lnTo>
                        <a:pt x="1433" y="373"/>
                      </a:lnTo>
                      <a:lnTo>
                        <a:pt x="1428" y="363"/>
                      </a:lnTo>
                      <a:lnTo>
                        <a:pt x="1430" y="356"/>
                      </a:lnTo>
                      <a:close/>
                      <a:moveTo>
                        <a:pt x="1420" y="343"/>
                      </a:moveTo>
                      <a:lnTo>
                        <a:pt x="1423" y="345"/>
                      </a:lnTo>
                      <a:lnTo>
                        <a:pt x="1431" y="344"/>
                      </a:lnTo>
                      <a:lnTo>
                        <a:pt x="1432" y="336"/>
                      </a:lnTo>
                      <a:lnTo>
                        <a:pt x="1427" y="337"/>
                      </a:lnTo>
                      <a:lnTo>
                        <a:pt x="1425" y="341"/>
                      </a:lnTo>
                      <a:lnTo>
                        <a:pt x="1425" y="339"/>
                      </a:lnTo>
                      <a:lnTo>
                        <a:pt x="1422" y="339"/>
                      </a:lnTo>
                      <a:lnTo>
                        <a:pt x="1424" y="337"/>
                      </a:lnTo>
                      <a:lnTo>
                        <a:pt x="1432" y="335"/>
                      </a:lnTo>
                      <a:lnTo>
                        <a:pt x="1436" y="340"/>
                      </a:lnTo>
                      <a:lnTo>
                        <a:pt x="1462" y="386"/>
                      </a:lnTo>
                      <a:lnTo>
                        <a:pt x="1468" y="400"/>
                      </a:lnTo>
                      <a:lnTo>
                        <a:pt x="1482" y="415"/>
                      </a:lnTo>
                      <a:lnTo>
                        <a:pt x="1480" y="427"/>
                      </a:lnTo>
                      <a:lnTo>
                        <a:pt x="1486" y="443"/>
                      </a:lnTo>
                      <a:lnTo>
                        <a:pt x="1491" y="450"/>
                      </a:lnTo>
                      <a:lnTo>
                        <a:pt x="1501" y="459"/>
                      </a:lnTo>
                      <a:lnTo>
                        <a:pt x="1506" y="472"/>
                      </a:lnTo>
                      <a:lnTo>
                        <a:pt x="1505" y="476"/>
                      </a:lnTo>
                      <a:lnTo>
                        <a:pt x="1499" y="479"/>
                      </a:lnTo>
                      <a:lnTo>
                        <a:pt x="1493" y="481"/>
                      </a:lnTo>
                      <a:lnTo>
                        <a:pt x="1486" y="477"/>
                      </a:lnTo>
                      <a:lnTo>
                        <a:pt x="1463" y="490"/>
                      </a:lnTo>
                      <a:lnTo>
                        <a:pt x="1459" y="498"/>
                      </a:lnTo>
                      <a:lnTo>
                        <a:pt x="1459" y="503"/>
                      </a:lnTo>
                      <a:lnTo>
                        <a:pt x="1452" y="506"/>
                      </a:lnTo>
                      <a:lnTo>
                        <a:pt x="1448" y="502"/>
                      </a:lnTo>
                      <a:lnTo>
                        <a:pt x="1441" y="501"/>
                      </a:lnTo>
                      <a:lnTo>
                        <a:pt x="1441" y="505"/>
                      </a:lnTo>
                      <a:lnTo>
                        <a:pt x="1442" y="506"/>
                      </a:lnTo>
                      <a:lnTo>
                        <a:pt x="1437" y="507"/>
                      </a:lnTo>
                      <a:lnTo>
                        <a:pt x="1431" y="504"/>
                      </a:lnTo>
                      <a:lnTo>
                        <a:pt x="1427" y="497"/>
                      </a:lnTo>
                      <a:lnTo>
                        <a:pt x="1411" y="492"/>
                      </a:lnTo>
                      <a:lnTo>
                        <a:pt x="1411" y="495"/>
                      </a:lnTo>
                      <a:lnTo>
                        <a:pt x="1396" y="499"/>
                      </a:lnTo>
                      <a:lnTo>
                        <a:pt x="1398" y="504"/>
                      </a:lnTo>
                      <a:lnTo>
                        <a:pt x="1397" y="508"/>
                      </a:lnTo>
                      <a:lnTo>
                        <a:pt x="1390" y="508"/>
                      </a:lnTo>
                      <a:lnTo>
                        <a:pt x="1391" y="512"/>
                      </a:lnTo>
                      <a:lnTo>
                        <a:pt x="1406" y="530"/>
                      </a:lnTo>
                      <a:lnTo>
                        <a:pt x="1409" y="530"/>
                      </a:lnTo>
                      <a:lnTo>
                        <a:pt x="1412" y="525"/>
                      </a:lnTo>
                      <a:lnTo>
                        <a:pt x="1408" y="503"/>
                      </a:lnTo>
                      <a:lnTo>
                        <a:pt x="1415" y="496"/>
                      </a:lnTo>
                      <a:lnTo>
                        <a:pt x="1426" y="501"/>
                      </a:lnTo>
                      <a:lnTo>
                        <a:pt x="1426" y="505"/>
                      </a:lnTo>
                      <a:lnTo>
                        <a:pt x="1436" y="509"/>
                      </a:lnTo>
                      <a:lnTo>
                        <a:pt x="1444" y="515"/>
                      </a:lnTo>
                      <a:lnTo>
                        <a:pt x="1449" y="510"/>
                      </a:lnTo>
                      <a:lnTo>
                        <a:pt x="1454" y="511"/>
                      </a:lnTo>
                      <a:lnTo>
                        <a:pt x="1455" y="506"/>
                      </a:lnTo>
                      <a:lnTo>
                        <a:pt x="1460" y="503"/>
                      </a:lnTo>
                      <a:lnTo>
                        <a:pt x="1460" y="507"/>
                      </a:lnTo>
                      <a:lnTo>
                        <a:pt x="1471" y="516"/>
                      </a:lnTo>
                      <a:lnTo>
                        <a:pt x="1480" y="528"/>
                      </a:lnTo>
                      <a:lnTo>
                        <a:pt x="1486" y="535"/>
                      </a:lnTo>
                      <a:lnTo>
                        <a:pt x="1493" y="538"/>
                      </a:lnTo>
                      <a:lnTo>
                        <a:pt x="1502" y="555"/>
                      </a:lnTo>
                      <a:lnTo>
                        <a:pt x="1514" y="565"/>
                      </a:lnTo>
                      <a:lnTo>
                        <a:pt x="1521" y="580"/>
                      </a:lnTo>
                      <a:lnTo>
                        <a:pt x="1530" y="593"/>
                      </a:lnTo>
                      <a:lnTo>
                        <a:pt x="1546" y="641"/>
                      </a:lnTo>
                      <a:lnTo>
                        <a:pt x="1558" y="651"/>
                      </a:lnTo>
                      <a:lnTo>
                        <a:pt x="1564" y="651"/>
                      </a:lnTo>
                      <a:lnTo>
                        <a:pt x="1564" y="654"/>
                      </a:lnTo>
                      <a:lnTo>
                        <a:pt x="1559" y="655"/>
                      </a:lnTo>
                      <a:lnTo>
                        <a:pt x="1564" y="660"/>
                      </a:lnTo>
                      <a:lnTo>
                        <a:pt x="1563" y="663"/>
                      </a:lnTo>
                      <a:lnTo>
                        <a:pt x="1549" y="667"/>
                      </a:lnTo>
                      <a:lnTo>
                        <a:pt x="1548" y="666"/>
                      </a:lnTo>
                      <a:lnTo>
                        <a:pt x="1549" y="663"/>
                      </a:lnTo>
                      <a:lnTo>
                        <a:pt x="1552" y="665"/>
                      </a:lnTo>
                      <a:lnTo>
                        <a:pt x="1553" y="663"/>
                      </a:lnTo>
                      <a:lnTo>
                        <a:pt x="1549" y="660"/>
                      </a:lnTo>
                      <a:lnTo>
                        <a:pt x="1550" y="656"/>
                      </a:lnTo>
                      <a:lnTo>
                        <a:pt x="1546" y="653"/>
                      </a:lnTo>
                      <a:lnTo>
                        <a:pt x="1544" y="657"/>
                      </a:lnTo>
                      <a:lnTo>
                        <a:pt x="1543" y="654"/>
                      </a:lnTo>
                      <a:lnTo>
                        <a:pt x="1539" y="653"/>
                      </a:lnTo>
                      <a:lnTo>
                        <a:pt x="1538" y="649"/>
                      </a:lnTo>
                      <a:lnTo>
                        <a:pt x="1534" y="646"/>
                      </a:lnTo>
                      <a:lnTo>
                        <a:pt x="1531" y="647"/>
                      </a:lnTo>
                      <a:lnTo>
                        <a:pt x="1527" y="645"/>
                      </a:lnTo>
                      <a:lnTo>
                        <a:pt x="1528" y="654"/>
                      </a:lnTo>
                      <a:lnTo>
                        <a:pt x="1526" y="651"/>
                      </a:lnTo>
                      <a:lnTo>
                        <a:pt x="1522" y="655"/>
                      </a:lnTo>
                      <a:lnTo>
                        <a:pt x="1511" y="654"/>
                      </a:lnTo>
                      <a:lnTo>
                        <a:pt x="1505" y="657"/>
                      </a:lnTo>
                      <a:lnTo>
                        <a:pt x="1524" y="657"/>
                      </a:lnTo>
                      <a:lnTo>
                        <a:pt x="1528" y="661"/>
                      </a:lnTo>
                      <a:lnTo>
                        <a:pt x="1530" y="665"/>
                      </a:lnTo>
                      <a:lnTo>
                        <a:pt x="1528" y="679"/>
                      </a:lnTo>
                      <a:lnTo>
                        <a:pt x="1544" y="720"/>
                      </a:lnTo>
                      <a:lnTo>
                        <a:pt x="1540" y="731"/>
                      </a:lnTo>
                      <a:lnTo>
                        <a:pt x="1542" y="744"/>
                      </a:lnTo>
                      <a:lnTo>
                        <a:pt x="1539" y="770"/>
                      </a:lnTo>
                      <a:lnTo>
                        <a:pt x="1530" y="786"/>
                      </a:lnTo>
                      <a:lnTo>
                        <a:pt x="1529" y="795"/>
                      </a:lnTo>
                      <a:lnTo>
                        <a:pt x="1526" y="803"/>
                      </a:lnTo>
                      <a:lnTo>
                        <a:pt x="1526" y="811"/>
                      </a:lnTo>
                      <a:lnTo>
                        <a:pt x="1523" y="817"/>
                      </a:lnTo>
                      <a:lnTo>
                        <a:pt x="1523" y="829"/>
                      </a:lnTo>
                      <a:lnTo>
                        <a:pt x="1518" y="839"/>
                      </a:lnTo>
                      <a:lnTo>
                        <a:pt x="1521" y="848"/>
                      </a:lnTo>
                      <a:lnTo>
                        <a:pt x="1515" y="848"/>
                      </a:lnTo>
                      <a:lnTo>
                        <a:pt x="1510" y="853"/>
                      </a:lnTo>
                      <a:lnTo>
                        <a:pt x="1507" y="870"/>
                      </a:lnTo>
                      <a:lnTo>
                        <a:pt x="1503" y="879"/>
                      </a:lnTo>
                      <a:lnTo>
                        <a:pt x="1492" y="884"/>
                      </a:lnTo>
                      <a:lnTo>
                        <a:pt x="1482" y="892"/>
                      </a:lnTo>
                      <a:lnTo>
                        <a:pt x="1483" y="888"/>
                      </a:lnTo>
                      <a:lnTo>
                        <a:pt x="1472" y="885"/>
                      </a:lnTo>
                      <a:lnTo>
                        <a:pt x="1469" y="890"/>
                      </a:lnTo>
                      <a:lnTo>
                        <a:pt x="1460" y="890"/>
                      </a:lnTo>
                      <a:lnTo>
                        <a:pt x="1458" y="892"/>
                      </a:lnTo>
                      <a:lnTo>
                        <a:pt x="1455" y="890"/>
                      </a:lnTo>
                      <a:lnTo>
                        <a:pt x="1446" y="893"/>
                      </a:lnTo>
                      <a:lnTo>
                        <a:pt x="1443" y="889"/>
                      </a:lnTo>
                      <a:lnTo>
                        <a:pt x="1436" y="889"/>
                      </a:lnTo>
                      <a:lnTo>
                        <a:pt x="1431" y="886"/>
                      </a:lnTo>
                      <a:lnTo>
                        <a:pt x="1430" y="895"/>
                      </a:lnTo>
                      <a:lnTo>
                        <a:pt x="1426" y="896"/>
                      </a:lnTo>
                      <a:lnTo>
                        <a:pt x="1422" y="901"/>
                      </a:lnTo>
                      <a:lnTo>
                        <a:pt x="1383" y="915"/>
                      </a:lnTo>
                      <a:lnTo>
                        <a:pt x="1376" y="921"/>
                      </a:lnTo>
                      <a:lnTo>
                        <a:pt x="1360" y="916"/>
                      </a:lnTo>
                      <a:lnTo>
                        <a:pt x="1355" y="909"/>
                      </a:lnTo>
                      <a:lnTo>
                        <a:pt x="1349" y="906"/>
                      </a:lnTo>
                      <a:lnTo>
                        <a:pt x="1342" y="908"/>
                      </a:lnTo>
                      <a:lnTo>
                        <a:pt x="1322" y="906"/>
                      </a:lnTo>
                      <a:lnTo>
                        <a:pt x="1319" y="908"/>
                      </a:lnTo>
                      <a:lnTo>
                        <a:pt x="1301" y="899"/>
                      </a:lnTo>
                      <a:lnTo>
                        <a:pt x="1304" y="894"/>
                      </a:lnTo>
                      <a:lnTo>
                        <a:pt x="1295" y="884"/>
                      </a:lnTo>
                      <a:lnTo>
                        <a:pt x="1291" y="885"/>
                      </a:lnTo>
                      <a:lnTo>
                        <a:pt x="1293" y="889"/>
                      </a:lnTo>
                      <a:lnTo>
                        <a:pt x="1284" y="898"/>
                      </a:lnTo>
                      <a:lnTo>
                        <a:pt x="1279" y="897"/>
                      </a:lnTo>
                      <a:lnTo>
                        <a:pt x="1279" y="895"/>
                      </a:lnTo>
                      <a:lnTo>
                        <a:pt x="1271" y="896"/>
                      </a:lnTo>
                      <a:lnTo>
                        <a:pt x="1265" y="894"/>
                      </a:lnTo>
                      <a:lnTo>
                        <a:pt x="1264" y="886"/>
                      </a:lnTo>
                      <a:lnTo>
                        <a:pt x="1253" y="881"/>
                      </a:lnTo>
                      <a:lnTo>
                        <a:pt x="1251" y="877"/>
                      </a:lnTo>
                      <a:lnTo>
                        <a:pt x="1245" y="872"/>
                      </a:lnTo>
                      <a:lnTo>
                        <a:pt x="1245" y="868"/>
                      </a:lnTo>
                      <a:lnTo>
                        <a:pt x="1238" y="864"/>
                      </a:lnTo>
                      <a:lnTo>
                        <a:pt x="1231" y="863"/>
                      </a:lnTo>
                      <a:lnTo>
                        <a:pt x="1223" y="856"/>
                      </a:lnTo>
                      <a:lnTo>
                        <a:pt x="1219" y="856"/>
                      </a:lnTo>
                      <a:lnTo>
                        <a:pt x="1215" y="853"/>
                      </a:lnTo>
                      <a:lnTo>
                        <a:pt x="1217" y="851"/>
                      </a:lnTo>
                      <a:lnTo>
                        <a:pt x="1213" y="848"/>
                      </a:lnTo>
                      <a:lnTo>
                        <a:pt x="1202" y="855"/>
                      </a:lnTo>
                      <a:lnTo>
                        <a:pt x="1210" y="860"/>
                      </a:lnTo>
                      <a:lnTo>
                        <a:pt x="1214" y="871"/>
                      </a:lnTo>
                      <a:lnTo>
                        <a:pt x="1211" y="875"/>
                      </a:lnTo>
                      <a:lnTo>
                        <a:pt x="1206" y="877"/>
                      </a:lnTo>
                      <a:lnTo>
                        <a:pt x="1205" y="882"/>
                      </a:lnTo>
                      <a:lnTo>
                        <a:pt x="1199" y="881"/>
                      </a:lnTo>
                      <a:lnTo>
                        <a:pt x="1199" y="885"/>
                      </a:lnTo>
                      <a:lnTo>
                        <a:pt x="1207" y="885"/>
                      </a:lnTo>
                      <a:lnTo>
                        <a:pt x="1201" y="889"/>
                      </a:lnTo>
                      <a:lnTo>
                        <a:pt x="1197" y="886"/>
                      </a:lnTo>
                      <a:lnTo>
                        <a:pt x="1196" y="878"/>
                      </a:lnTo>
                      <a:lnTo>
                        <a:pt x="1189" y="869"/>
                      </a:lnTo>
                      <a:lnTo>
                        <a:pt x="1175" y="869"/>
                      </a:lnTo>
                      <a:lnTo>
                        <a:pt x="1158" y="859"/>
                      </a:lnTo>
                      <a:lnTo>
                        <a:pt x="1126" y="872"/>
                      </a:lnTo>
                      <a:lnTo>
                        <a:pt x="1123" y="862"/>
                      </a:lnTo>
                      <a:lnTo>
                        <a:pt x="1131" y="850"/>
                      </a:lnTo>
                      <a:lnTo>
                        <a:pt x="1132" y="843"/>
                      </a:lnTo>
                      <a:lnTo>
                        <a:pt x="1135" y="841"/>
                      </a:lnTo>
                      <a:lnTo>
                        <a:pt x="1138" y="843"/>
                      </a:lnTo>
                      <a:lnTo>
                        <a:pt x="1143" y="843"/>
                      </a:lnTo>
                      <a:lnTo>
                        <a:pt x="1150" y="833"/>
                      </a:lnTo>
                      <a:lnTo>
                        <a:pt x="1157" y="831"/>
                      </a:lnTo>
                      <a:lnTo>
                        <a:pt x="1161" y="832"/>
                      </a:lnTo>
                      <a:lnTo>
                        <a:pt x="1163" y="828"/>
                      </a:lnTo>
                      <a:lnTo>
                        <a:pt x="1166" y="829"/>
                      </a:lnTo>
                      <a:lnTo>
                        <a:pt x="1166" y="826"/>
                      </a:lnTo>
                      <a:lnTo>
                        <a:pt x="1173" y="828"/>
                      </a:lnTo>
                      <a:lnTo>
                        <a:pt x="1183" y="821"/>
                      </a:lnTo>
                      <a:lnTo>
                        <a:pt x="1176" y="817"/>
                      </a:lnTo>
                      <a:lnTo>
                        <a:pt x="1165" y="796"/>
                      </a:lnTo>
                      <a:lnTo>
                        <a:pt x="1163" y="798"/>
                      </a:lnTo>
                      <a:lnTo>
                        <a:pt x="1160" y="796"/>
                      </a:lnTo>
                      <a:lnTo>
                        <a:pt x="1159" y="784"/>
                      </a:lnTo>
                      <a:lnTo>
                        <a:pt x="1152" y="774"/>
                      </a:lnTo>
                      <a:lnTo>
                        <a:pt x="1148" y="761"/>
                      </a:lnTo>
                      <a:lnTo>
                        <a:pt x="1145" y="760"/>
                      </a:lnTo>
                      <a:lnTo>
                        <a:pt x="1141" y="767"/>
                      </a:lnTo>
                      <a:lnTo>
                        <a:pt x="1138" y="765"/>
                      </a:lnTo>
                      <a:lnTo>
                        <a:pt x="1133" y="774"/>
                      </a:lnTo>
                      <a:lnTo>
                        <a:pt x="1111" y="773"/>
                      </a:lnTo>
                      <a:lnTo>
                        <a:pt x="1095" y="769"/>
                      </a:lnTo>
                      <a:lnTo>
                        <a:pt x="1095" y="755"/>
                      </a:lnTo>
                      <a:lnTo>
                        <a:pt x="1082" y="749"/>
                      </a:lnTo>
                      <a:lnTo>
                        <a:pt x="1079" y="751"/>
                      </a:lnTo>
                      <a:lnTo>
                        <a:pt x="1083" y="758"/>
                      </a:lnTo>
                      <a:lnTo>
                        <a:pt x="1086" y="760"/>
                      </a:lnTo>
                      <a:lnTo>
                        <a:pt x="1082" y="766"/>
                      </a:lnTo>
                      <a:lnTo>
                        <a:pt x="1079" y="764"/>
                      </a:lnTo>
                      <a:lnTo>
                        <a:pt x="1077" y="775"/>
                      </a:lnTo>
                      <a:lnTo>
                        <a:pt x="1082" y="771"/>
                      </a:lnTo>
                      <a:lnTo>
                        <a:pt x="1080" y="777"/>
                      </a:lnTo>
                      <a:lnTo>
                        <a:pt x="1084" y="785"/>
                      </a:lnTo>
                      <a:lnTo>
                        <a:pt x="1092" y="790"/>
                      </a:lnTo>
                      <a:lnTo>
                        <a:pt x="1109" y="816"/>
                      </a:lnTo>
                      <a:lnTo>
                        <a:pt x="1104" y="826"/>
                      </a:lnTo>
                      <a:lnTo>
                        <a:pt x="1099" y="829"/>
                      </a:lnTo>
                      <a:lnTo>
                        <a:pt x="1087" y="827"/>
                      </a:lnTo>
                      <a:lnTo>
                        <a:pt x="1073" y="817"/>
                      </a:lnTo>
                      <a:lnTo>
                        <a:pt x="1072" y="814"/>
                      </a:lnTo>
                      <a:lnTo>
                        <a:pt x="1078" y="808"/>
                      </a:lnTo>
                      <a:lnTo>
                        <a:pt x="1080" y="802"/>
                      </a:lnTo>
                      <a:lnTo>
                        <a:pt x="1075" y="783"/>
                      </a:lnTo>
                      <a:lnTo>
                        <a:pt x="1078" y="749"/>
                      </a:lnTo>
                      <a:lnTo>
                        <a:pt x="1077" y="744"/>
                      </a:lnTo>
                      <a:lnTo>
                        <a:pt x="1073" y="737"/>
                      </a:lnTo>
                      <a:lnTo>
                        <a:pt x="1065" y="732"/>
                      </a:lnTo>
                      <a:lnTo>
                        <a:pt x="1044" y="732"/>
                      </a:lnTo>
                      <a:lnTo>
                        <a:pt x="1040" y="723"/>
                      </a:lnTo>
                      <a:lnTo>
                        <a:pt x="1033" y="715"/>
                      </a:lnTo>
                      <a:lnTo>
                        <a:pt x="1019" y="705"/>
                      </a:lnTo>
                      <a:lnTo>
                        <a:pt x="1017" y="707"/>
                      </a:lnTo>
                      <a:lnTo>
                        <a:pt x="1009" y="699"/>
                      </a:lnTo>
                      <a:lnTo>
                        <a:pt x="1014" y="697"/>
                      </a:lnTo>
                      <a:lnTo>
                        <a:pt x="1016" y="701"/>
                      </a:lnTo>
                      <a:lnTo>
                        <a:pt x="1022" y="702"/>
                      </a:lnTo>
                      <a:lnTo>
                        <a:pt x="1019" y="704"/>
                      </a:lnTo>
                      <a:lnTo>
                        <a:pt x="1024" y="706"/>
                      </a:lnTo>
                      <a:lnTo>
                        <a:pt x="1025" y="706"/>
                      </a:lnTo>
                      <a:lnTo>
                        <a:pt x="1028" y="699"/>
                      </a:lnTo>
                      <a:lnTo>
                        <a:pt x="1026" y="695"/>
                      </a:lnTo>
                      <a:lnTo>
                        <a:pt x="1020" y="692"/>
                      </a:lnTo>
                      <a:lnTo>
                        <a:pt x="1018" y="685"/>
                      </a:lnTo>
                      <a:lnTo>
                        <a:pt x="1020" y="686"/>
                      </a:lnTo>
                      <a:lnTo>
                        <a:pt x="1023" y="682"/>
                      </a:lnTo>
                      <a:lnTo>
                        <a:pt x="1025" y="646"/>
                      </a:lnTo>
                      <a:lnTo>
                        <a:pt x="1022" y="632"/>
                      </a:lnTo>
                      <a:lnTo>
                        <a:pt x="1016" y="620"/>
                      </a:lnTo>
                      <a:lnTo>
                        <a:pt x="1017" y="613"/>
                      </a:lnTo>
                      <a:lnTo>
                        <a:pt x="1022" y="616"/>
                      </a:lnTo>
                      <a:lnTo>
                        <a:pt x="1026" y="617"/>
                      </a:lnTo>
                      <a:lnTo>
                        <a:pt x="1028" y="613"/>
                      </a:lnTo>
                      <a:lnTo>
                        <a:pt x="1018" y="609"/>
                      </a:lnTo>
                      <a:lnTo>
                        <a:pt x="1014" y="602"/>
                      </a:lnTo>
                      <a:lnTo>
                        <a:pt x="1015" y="596"/>
                      </a:lnTo>
                      <a:lnTo>
                        <a:pt x="1007" y="602"/>
                      </a:lnTo>
                      <a:lnTo>
                        <a:pt x="995" y="603"/>
                      </a:lnTo>
                      <a:lnTo>
                        <a:pt x="965" y="589"/>
                      </a:lnTo>
                      <a:lnTo>
                        <a:pt x="967" y="578"/>
                      </a:lnTo>
                      <a:lnTo>
                        <a:pt x="983" y="576"/>
                      </a:lnTo>
                      <a:lnTo>
                        <a:pt x="990" y="573"/>
                      </a:lnTo>
                      <a:lnTo>
                        <a:pt x="995" y="568"/>
                      </a:lnTo>
                      <a:lnTo>
                        <a:pt x="995" y="562"/>
                      </a:lnTo>
                      <a:lnTo>
                        <a:pt x="986" y="551"/>
                      </a:lnTo>
                      <a:lnTo>
                        <a:pt x="981" y="546"/>
                      </a:lnTo>
                      <a:lnTo>
                        <a:pt x="966" y="543"/>
                      </a:lnTo>
                      <a:lnTo>
                        <a:pt x="972" y="538"/>
                      </a:lnTo>
                      <a:lnTo>
                        <a:pt x="981" y="542"/>
                      </a:lnTo>
                      <a:lnTo>
                        <a:pt x="986" y="540"/>
                      </a:lnTo>
                      <a:lnTo>
                        <a:pt x="988" y="535"/>
                      </a:lnTo>
                      <a:lnTo>
                        <a:pt x="987" y="530"/>
                      </a:lnTo>
                      <a:lnTo>
                        <a:pt x="968" y="521"/>
                      </a:lnTo>
                      <a:lnTo>
                        <a:pt x="958" y="522"/>
                      </a:lnTo>
                      <a:lnTo>
                        <a:pt x="940" y="518"/>
                      </a:lnTo>
                      <a:lnTo>
                        <a:pt x="938" y="516"/>
                      </a:lnTo>
                      <a:lnTo>
                        <a:pt x="942" y="508"/>
                      </a:lnTo>
                      <a:lnTo>
                        <a:pt x="930" y="494"/>
                      </a:lnTo>
                      <a:lnTo>
                        <a:pt x="925" y="485"/>
                      </a:lnTo>
                      <a:lnTo>
                        <a:pt x="929" y="481"/>
                      </a:lnTo>
                      <a:lnTo>
                        <a:pt x="932" y="488"/>
                      </a:lnTo>
                      <a:lnTo>
                        <a:pt x="947" y="500"/>
                      </a:lnTo>
                      <a:lnTo>
                        <a:pt x="952" y="502"/>
                      </a:lnTo>
                      <a:lnTo>
                        <a:pt x="953" y="507"/>
                      </a:lnTo>
                      <a:lnTo>
                        <a:pt x="964" y="514"/>
                      </a:lnTo>
                      <a:lnTo>
                        <a:pt x="980" y="521"/>
                      </a:lnTo>
                      <a:lnTo>
                        <a:pt x="986" y="518"/>
                      </a:lnTo>
                      <a:lnTo>
                        <a:pt x="983" y="513"/>
                      </a:lnTo>
                      <a:lnTo>
                        <a:pt x="976" y="509"/>
                      </a:lnTo>
                      <a:lnTo>
                        <a:pt x="975" y="503"/>
                      </a:lnTo>
                      <a:lnTo>
                        <a:pt x="970" y="504"/>
                      </a:lnTo>
                      <a:lnTo>
                        <a:pt x="963" y="499"/>
                      </a:lnTo>
                      <a:lnTo>
                        <a:pt x="963" y="496"/>
                      </a:lnTo>
                      <a:lnTo>
                        <a:pt x="960" y="496"/>
                      </a:lnTo>
                      <a:lnTo>
                        <a:pt x="962" y="492"/>
                      </a:lnTo>
                      <a:lnTo>
                        <a:pt x="965" y="495"/>
                      </a:lnTo>
                      <a:lnTo>
                        <a:pt x="971" y="496"/>
                      </a:lnTo>
                      <a:lnTo>
                        <a:pt x="967" y="489"/>
                      </a:lnTo>
                      <a:lnTo>
                        <a:pt x="963" y="490"/>
                      </a:lnTo>
                      <a:lnTo>
                        <a:pt x="960" y="485"/>
                      </a:lnTo>
                      <a:lnTo>
                        <a:pt x="948" y="487"/>
                      </a:lnTo>
                      <a:lnTo>
                        <a:pt x="939" y="481"/>
                      </a:lnTo>
                      <a:lnTo>
                        <a:pt x="932" y="461"/>
                      </a:lnTo>
                      <a:lnTo>
                        <a:pt x="917" y="460"/>
                      </a:lnTo>
                      <a:lnTo>
                        <a:pt x="915" y="454"/>
                      </a:lnTo>
                      <a:lnTo>
                        <a:pt x="906" y="448"/>
                      </a:lnTo>
                      <a:lnTo>
                        <a:pt x="904" y="439"/>
                      </a:lnTo>
                      <a:lnTo>
                        <a:pt x="908" y="436"/>
                      </a:lnTo>
                      <a:lnTo>
                        <a:pt x="915" y="437"/>
                      </a:lnTo>
                      <a:lnTo>
                        <a:pt x="929" y="446"/>
                      </a:lnTo>
                      <a:lnTo>
                        <a:pt x="941" y="448"/>
                      </a:lnTo>
                      <a:lnTo>
                        <a:pt x="947" y="443"/>
                      </a:lnTo>
                      <a:lnTo>
                        <a:pt x="956" y="424"/>
                      </a:lnTo>
                      <a:lnTo>
                        <a:pt x="947" y="412"/>
                      </a:lnTo>
                      <a:lnTo>
                        <a:pt x="963" y="412"/>
                      </a:lnTo>
                      <a:lnTo>
                        <a:pt x="976" y="402"/>
                      </a:lnTo>
                      <a:lnTo>
                        <a:pt x="992" y="400"/>
                      </a:lnTo>
                      <a:lnTo>
                        <a:pt x="999" y="404"/>
                      </a:lnTo>
                      <a:lnTo>
                        <a:pt x="1001" y="409"/>
                      </a:lnTo>
                      <a:lnTo>
                        <a:pt x="1000" y="430"/>
                      </a:lnTo>
                      <a:lnTo>
                        <a:pt x="1009" y="441"/>
                      </a:lnTo>
                      <a:lnTo>
                        <a:pt x="1038" y="445"/>
                      </a:lnTo>
                      <a:lnTo>
                        <a:pt x="1051" y="443"/>
                      </a:lnTo>
                      <a:lnTo>
                        <a:pt x="1084" y="416"/>
                      </a:lnTo>
                      <a:lnTo>
                        <a:pt x="1098" y="408"/>
                      </a:lnTo>
                      <a:lnTo>
                        <a:pt x="1105" y="398"/>
                      </a:lnTo>
                      <a:lnTo>
                        <a:pt x="1126" y="393"/>
                      </a:lnTo>
                      <a:lnTo>
                        <a:pt x="1131" y="388"/>
                      </a:lnTo>
                      <a:lnTo>
                        <a:pt x="1133" y="386"/>
                      </a:lnTo>
                      <a:lnTo>
                        <a:pt x="1145" y="381"/>
                      </a:lnTo>
                      <a:lnTo>
                        <a:pt x="1155" y="378"/>
                      </a:lnTo>
                      <a:lnTo>
                        <a:pt x="1162" y="378"/>
                      </a:lnTo>
                      <a:lnTo>
                        <a:pt x="1171" y="372"/>
                      </a:lnTo>
                      <a:lnTo>
                        <a:pt x="1185" y="366"/>
                      </a:lnTo>
                      <a:lnTo>
                        <a:pt x="1194" y="367"/>
                      </a:lnTo>
                      <a:lnTo>
                        <a:pt x="1196" y="365"/>
                      </a:lnTo>
                      <a:lnTo>
                        <a:pt x="1192" y="358"/>
                      </a:lnTo>
                      <a:lnTo>
                        <a:pt x="1196" y="359"/>
                      </a:lnTo>
                      <a:lnTo>
                        <a:pt x="1199" y="363"/>
                      </a:lnTo>
                      <a:lnTo>
                        <a:pt x="1204" y="355"/>
                      </a:lnTo>
                      <a:lnTo>
                        <a:pt x="1216" y="350"/>
                      </a:lnTo>
                      <a:lnTo>
                        <a:pt x="1247" y="346"/>
                      </a:lnTo>
                      <a:lnTo>
                        <a:pt x="1251" y="348"/>
                      </a:lnTo>
                      <a:lnTo>
                        <a:pt x="1245" y="347"/>
                      </a:lnTo>
                      <a:lnTo>
                        <a:pt x="1242" y="350"/>
                      </a:lnTo>
                      <a:lnTo>
                        <a:pt x="1246" y="360"/>
                      </a:lnTo>
                      <a:lnTo>
                        <a:pt x="1242" y="363"/>
                      </a:lnTo>
                      <a:lnTo>
                        <a:pt x="1243" y="366"/>
                      </a:lnTo>
                      <a:lnTo>
                        <a:pt x="1245" y="368"/>
                      </a:lnTo>
                      <a:lnTo>
                        <a:pt x="1242" y="372"/>
                      </a:lnTo>
                      <a:lnTo>
                        <a:pt x="1250" y="374"/>
                      </a:lnTo>
                      <a:lnTo>
                        <a:pt x="1253" y="371"/>
                      </a:lnTo>
                      <a:lnTo>
                        <a:pt x="1262" y="371"/>
                      </a:lnTo>
                      <a:lnTo>
                        <a:pt x="1263" y="367"/>
                      </a:lnTo>
                      <a:lnTo>
                        <a:pt x="1257" y="360"/>
                      </a:lnTo>
                      <a:lnTo>
                        <a:pt x="1257" y="346"/>
                      </a:lnTo>
                      <a:lnTo>
                        <a:pt x="1250" y="335"/>
                      </a:lnTo>
                      <a:lnTo>
                        <a:pt x="1261" y="333"/>
                      </a:lnTo>
                      <a:lnTo>
                        <a:pt x="1319" y="366"/>
                      </a:lnTo>
                      <a:lnTo>
                        <a:pt x="1339" y="386"/>
                      </a:lnTo>
                      <a:lnTo>
                        <a:pt x="1389" y="424"/>
                      </a:lnTo>
                      <a:lnTo>
                        <a:pt x="1401" y="438"/>
                      </a:lnTo>
                      <a:lnTo>
                        <a:pt x="1397" y="441"/>
                      </a:lnTo>
                      <a:lnTo>
                        <a:pt x="1388" y="433"/>
                      </a:lnTo>
                      <a:lnTo>
                        <a:pt x="1381" y="418"/>
                      </a:lnTo>
                      <a:lnTo>
                        <a:pt x="1365" y="407"/>
                      </a:lnTo>
                      <a:lnTo>
                        <a:pt x="1362" y="409"/>
                      </a:lnTo>
                      <a:lnTo>
                        <a:pt x="1365" y="415"/>
                      </a:lnTo>
                      <a:lnTo>
                        <a:pt x="1361" y="416"/>
                      </a:lnTo>
                      <a:lnTo>
                        <a:pt x="1366" y="423"/>
                      </a:lnTo>
                      <a:lnTo>
                        <a:pt x="1357" y="420"/>
                      </a:lnTo>
                      <a:lnTo>
                        <a:pt x="1354" y="425"/>
                      </a:lnTo>
                      <a:lnTo>
                        <a:pt x="1350" y="424"/>
                      </a:lnTo>
                      <a:lnTo>
                        <a:pt x="1350" y="429"/>
                      </a:lnTo>
                      <a:lnTo>
                        <a:pt x="1357" y="434"/>
                      </a:lnTo>
                      <a:lnTo>
                        <a:pt x="1357" y="443"/>
                      </a:lnTo>
                      <a:lnTo>
                        <a:pt x="1362" y="449"/>
                      </a:lnTo>
                      <a:lnTo>
                        <a:pt x="1367" y="450"/>
                      </a:lnTo>
                      <a:lnTo>
                        <a:pt x="1369" y="455"/>
                      </a:lnTo>
                      <a:lnTo>
                        <a:pt x="1363" y="459"/>
                      </a:lnTo>
                      <a:lnTo>
                        <a:pt x="1358" y="457"/>
                      </a:lnTo>
                      <a:lnTo>
                        <a:pt x="1355" y="462"/>
                      </a:lnTo>
                      <a:lnTo>
                        <a:pt x="1360" y="465"/>
                      </a:lnTo>
                      <a:lnTo>
                        <a:pt x="1361" y="469"/>
                      </a:lnTo>
                      <a:lnTo>
                        <a:pt x="1343" y="465"/>
                      </a:lnTo>
                      <a:lnTo>
                        <a:pt x="1341" y="467"/>
                      </a:lnTo>
                      <a:lnTo>
                        <a:pt x="1341" y="475"/>
                      </a:lnTo>
                      <a:lnTo>
                        <a:pt x="1335" y="474"/>
                      </a:lnTo>
                      <a:lnTo>
                        <a:pt x="1332" y="485"/>
                      </a:lnTo>
                      <a:lnTo>
                        <a:pt x="1335" y="488"/>
                      </a:lnTo>
                      <a:lnTo>
                        <a:pt x="1331" y="490"/>
                      </a:lnTo>
                      <a:lnTo>
                        <a:pt x="1330" y="499"/>
                      </a:lnTo>
                      <a:lnTo>
                        <a:pt x="1331" y="502"/>
                      </a:lnTo>
                      <a:lnTo>
                        <a:pt x="1325" y="515"/>
                      </a:lnTo>
                      <a:lnTo>
                        <a:pt x="1326" y="517"/>
                      </a:lnTo>
                      <a:lnTo>
                        <a:pt x="1329" y="514"/>
                      </a:lnTo>
                      <a:lnTo>
                        <a:pt x="1335" y="517"/>
                      </a:lnTo>
                      <a:lnTo>
                        <a:pt x="1342" y="510"/>
                      </a:lnTo>
                      <a:lnTo>
                        <a:pt x="1351" y="515"/>
                      </a:lnTo>
                      <a:lnTo>
                        <a:pt x="1356" y="509"/>
                      </a:lnTo>
                      <a:lnTo>
                        <a:pt x="1362" y="507"/>
                      </a:lnTo>
                      <a:lnTo>
                        <a:pt x="1366" y="501"/>
                      </a:lnTo>
                      <a:lnTo>
                        <a:pt x="1363" y="494"/>
                      </a:lnTo>
                      <a:lnTo>
                        <a:pt x="1360" y="495"/>
                      </a:lnTo>
                      <a:lnTo>
                        <a:pt x="1361" y="498"/>
                      </a:lnTo>
                      <a:lnTo>
                        <a:pt x="1355" y="497"/>
                      </a:lnTo>
                      <a:lnTo>
                        <a:pt x="1356" y="492"/>
                      </a:lnTo>
                      <a:lnTo>
                        <a:pt x="1358" y="495"/>
                      </a:lnTo>
                      <a:lnTo>
                        <a:pt x="1362" y="493"/>
                      </a:lnTo>
                      <a:lnTo>
                        <a:pt x="1357" y="482"/>
                      </a:lnTo>
                      <a:lnTo>
                        <a:pt x="1380" y="489"/>
                      </a:lnTo>
                      <a:lnTo>
                        <a:pt x="1384" y="487"/>
                      </a:lnTo>
                      <a:lnTo>
                        <a:pt x="1389" y="478"/>
                      </a:lnTo>
                      <a:lnTo>
                        <a:pt x="1396" y="483"/>
                      </a:lnTo>
                      <a:lnTo>
                        <a:pt x="1400" y="483"/>
                      </a:lnTo>
                      <a:lnTo>
                        <a:pt x="1400" y="479"/>
                      </a:lnTo>
                      <a:lnTo>
                        <a:pt x="1408" y="477"/>
                      </a:lnTo>
                      <a:lnTo>
                        <a:pt x="1411" y="471"/>
                      </a:lnTo>
                      <a:lnTo>
                        <a:pt x="1422" y="470"/>
                      </a:lnTo>
                      <a:lnTo>
                        <a:pt x="1430" y="475"/>
                      </a:lnTo>
                      <a:lnTo>
                        <a:pt x="1437" y="467"/>
                      </a:lnTo>
                      <a:lnTo>
                        <a:pt x="1438" y="464"/>
                      </a:lnTo>
                      <a:lnTo>
                        <a:pt x="1434" y="458"/>
                      </a:lnTo>
                      <a:lnTo>
                        <a:pt x="1434" y="450"/>
                      </a:lnTo>
                      <a:lnTo>
                        <a:pt x="1419" y="441"/>
                      </a:lnTo>
                      <a:lnTo>
                        <a:pt x="1406" y="438"/>
                      </a:lnTo>
                      <a:lnTo>
                        <a:pt x="1404" y="435"/>
                      </a:lnTo>
                      <a:lnTo>
                        <a:pt x="1405" y="431"/>
                      </a:lnTo>
                      <a:lnTo>
                        <a:pt x="1410" y="425"/>
                      </a:lnTo>
                      <a:lnTo>
                        <a:pt x="1416" y="423"/>
                      </a:lnTo>
                      <a:lnTo>
                        <a:pt x="1421" y="425"/>
                      </a:lnTo>
                      <a:lnTo>
                        <a:pt x="1425" y="433"/>
                      </a:lnTo>
                      <a:lnTo>
                        <a:pt x="1432" y="438"/>
                      </a:lnTo>
                      <a:lnTo>
                        <a:pt x="1436" y="439"/>
                      </a:lnTo>
                      <a:lnTo>
                        <a:pt x="1439" y="435"/>
                      </a:lnTo>
                      <a:lnTo>
                        <a:pt x="1440" y="432"/>
                      </a:lnTo>
                      <a:lnTo>
                        <a:pt x="1434" y="425"/>
                      </a:lnTo>
                      <a:lnTo>
                        <a:pt x="1435" y="409"/>
                      </a:lnTo>
                      <a:lnTo>
                        <a:pt x="1427" y="396"/>
                      </a:lnTo>
                      <a:lnTo>
                        <a:pt x="1426" y="385"/>
                      </a:lnTo>
                      <a:lnTo>
                        <a:pt x="1421" y="371"/>
                      </a:lnTo>
                      <a:lnTo>
                        <a:pt x="1426" y="360"/>
                      </a:lnTo>
                      <a:lnTo>
                        <a:pt x="1427" y="363"/>
                      </a:lnTo>
                      <a:lnTo>
                        <a:pt x="1425" y="365"/>
                      </a:lnTo>
                      <a:lnTo>
                        <a:pt x="1422" y="371"/>
                      </a:lnTo>
                      <a:lnTo>
                        <a:pt x="1429" y="386"/>
                      </a:lnTo>
                      <a:lnTo>
                        <a:pt x="1438" y="397"/>
                      </a:lnTo>
                      <a:lnTo>
                        <a:pt x="1441" y="391"/>
                      </a:lnTo>
                      <a:lnTo>
                        <a:pt x="1440" y="389"/>
                      </a:lnTo>
                      <a:lnTo>
                        <a:pt x="1443" y="388"/>
                      </a:lnTo>
                      <a:lnTo>
                        <a:pt x="1436" y="382"/>
                      </a:lnTo>
                      <a:lnTo>
                        <a:pt x="1436" y="380"/>
                      </a:lnTo>
                      <a:lnTo>
                        <a:pt x="1441" y="380"/>
                      </a:lnTo>
                      <a:lnTo>
                        <a:pt x="1439" y="366"/>
                      </a:lnTo>
                      <a:lnTo>
                        <a:pt x="1435" y="359"/>
                      </a:lnTo>
                      <a:lnTo>
                        <a:pt x="1432" y="347"/>
                      </a:lnTo>
                      <a:lnTo>
                        <a:pt x="1429" y="346"/>
                      </a:lnTo>
                      <a:lnTo>
                        <a:pt x="1427" y="350"/>
                      </a:lnTo>
                      <a:lnTo>
                        <a:pt x="1416" y="342"/>
                      </a:lnTo>
                      <a:lnTo>
                        <a:pt x="1418" y="335"/>
                      </a:lnTo>
                      <a:lnTo>
                        <a:pt x="1423" y="342"/>
                      </a:lnTo>
                      <a:lnTo>
                        <a:pt x="1420" y="343"/>
                      </a:lnTo>
                      <a:close/>
                      <a:moveTo>
                        <a:pt x="1179" y="308"/>
                      </a:moveTo>
                      <a:lnTo>
                        <a:pt x="1191" y="312"/>
                      </a:lnTo>
                      <a:lnTo>
                        <a:pt x="1192" y="318"/>
                      </a:lnTo>
                      <a:lnTo>
                        <a:pt x="1187" y="324"/>
                      </a:lnTo>
                      <a:lnTo>
                        <a:pt x="1187" y="339"/>
                      </a:lnTo>
                      <a:lnTo>
                        <a:pt x="1190" y="345"/>
                      </a:lnTo>
                      <a:lnTo>
                        <a:pt x="1187" y="349"/>
                      </a:lnTo>
                      <a:lnTo>
                        <a:pt x="1184" y="345"/>
                      </a:lnTo>
                      <a:lnTo>
                        <a:pt x="1185" y="326"/>
                      </a:lnTo>
                      <a:lnTo>
                        <a:pt x="1177" y="317"/>
                      </a:lnTo>
                      <a:lnTo>
                        <a:pt x="1175" y="308"/>
                      </a:lnTo>
                      <a:lnTo>
                        <a:pt x="1179" y="308"/>
                      </a:lnTo>
                      <a:close/>
                      <a:moveTo>
                        <a:pt x="692" y="17"/>
                      </a:moveTo>
                      <a:lnTo>
                        <a:pt x="697" y="18"/>
                      </a:lnTo>
                      <a:lnTo>
                        <a:pt x="699" y="24"/>
                      </a:lnTo>
                      <a:lnTo>
                        <a:pt x="705" y="22"/>
                      </a:lnTo>
                      <a:lnTo>
                        <a:pt x="708" y="26"/>
                      </a:lnTo>
                      <a:lnTo>
                        <a:pt x="710" y="23"/>
                      </a:lnTo>
                      <a:lnTo>
                        <a:pt x="710" y="23"/>
                      </a:lnTo>
                      <a:lnTo>
                        <a:pt x="712" y="21"/>
                      </a:lnTo>
                      <a:lnTo>
                        <a:pt x="712" y="21"/>
                      </a:lnTo>
                      <a:lnTo>
                        <a:pt x="718" y="21"/>
                      </a:lnTo>
                      <a:lnTo>
                        <a:pt x="715" y="18"/>
                      </a:lnTo>
                      <a:lnTo>
                        <a:pt x="715" y="18"/>
                      </a:lnTo>
                      <a:lnTo>
                        <a:pt x="715" y="18"/>
                      </a:lnTo>
                      <a:lnTo>
                        <a:pt x="715" y="18"/>
                      </a:lnTo>
                      <a:lnTo>
                        <a:pt x="717" y="17"/>
                      </a:lnTo>
                      <a:lnTo>
                        <a:pt x="727" y="25"/>
                      </a:lnTo>
                      <a:lnTo>
                        <a:pt x="739" y="30"/>
                      </a:lnTo>
                      <a:lnTo>
                        <a:pt x="739" y="30"/>
                      </a:lnTo>
                      <a:lnTo>
                        <a:pt x="740" y="35"/>
                      </a:lnTo>
                      <a:lnTo>
                        <a:pt x="739" y="36"/>
                      </a:lnTo>
                      <a:lnTo>
                        <a:pt x="779" y="93"/>
                      </a:lnTo>
                      <a:lnTo>
                        <a:pt x="768" y="101"/>
                      </a:lnTo>
                      <a:lnTo>
                        <a:pt x="777" y="105"/>
                      </a:lnTo>
                      <a:lnTo>
                        <a:pt x="772" y="120"/>
                      </a:lnTo>
                      <a:lnTo>
                        <a:pt x="793" y="122"/>
                      </a:lnTo>
                      <a:lnTo>
                        <a:pt x="793" y="127"/>
                      </a:lnTo>
                      <a:lnTo>
                        <a:pt x="805" y="128"/>
                      </a:lnTo>
                      <a:lnTo>
                        <a:pt x="807" y="145"/>
                      </a:lnTo>
                      <a:lnTo>
                        <a:pt x="814" y="169"/>
                      </a:lnTo>
                      <a:lnTo>
                        <a:pt x="825" y="171"/>
                      </a:lnTo>
                      <a:lnTo>
                        <a:pt x="824" y="181"/>
                      </a:lnTo>
                      <a:lnTo>
                        <a:pt x="848" y="180"/>
                      </a:lnTo>
                      <a:lnTo>
                        <a:pt x="851" y="173"/>
                      </a:lnTo>
                      <a:lnTo>
                        <a:pt x="857" y="182"/>
                      </a:lnTo>
                      <a:lnTo>
                        <a:pt x="851" y="190"/>
                      </a:lnTo>
                      <a:lnTo>
                        <a:pt x="860" y="203"/>
                      </a:lnTo>
                      <a:lnTo>
                        <a:pt x="872" y="197"/>
                      </a:lnTo>
                      <a:lnTo>
                        <a:pt x="885" y="201"/>
                      </a:lnTo>
                      <a:lnTo>
                        <a:pt x="888" y="196"/>
                      </a:lnTo>
                      <a:lnTo>
                        <a:pt x="905" y="206"/>
                      </a:lnTo>
                      <a:lnTo>
                        <a:pt x="907" y="219"/>
                      </a:lnTo>
                      <a:lnTo>
                        <a:pt x="900" y="242"/>
                      </a:lnTo>
                      <a:lnTo>
                        <a:pt x="900" y="242"/>
                      </a:lnTo>
                      <a:lnTo>
                        <a:pt x="861" y="251"/>
                      </a:lnTo>
                      <a:lnTo>
                        <a:pt x="858" y="247"/>
                      </a:lnTo>
                      <a:lnTo>
                        <a:pt x="848" y="251"/>
                      </a:lnTo>
                      <a:lnTo>
                        <a:pt x="841" y="248"/>
                      </a:lnTo>
                      <a:lnTo>
                        <a:pt x="838" y="245"/>
                      </a:lnTo>
                      <a:lnTo>
                        <a:pt x="835" y="244"/>
                      </a:lnTo>
                      <a:lnTo>
                        <a:pt x="833" y="248"/>
                      </a:lnTo>
                      <a:lnTo>
                        <a:pt x="835" y="251"/>
                      </a:lnTo>
                      <a:lnTo>
                        <a:pt x="834" y="256"/>
                      </a:lnTo>
                      <a:lnTo>
                        <a:pt x="852" y="265"/>
                      </a:lnTo>
                      <a:lnTo>
                        <a:pt x="884" y="261"/>
                      </a:lnTo>
                      <a:lnTo>
                        <a:pt x="890" y="265"/>
                      </a:lnTo>
                      <a:lnTo>
                        <a:pt x="896" y="260"/>
                      </a:lnTo>
                      <a:lnTo>
                        <a:pt x="908" y="272"/>
                      </a:lnTo>
                      <a:lnTo>
                        <a:pt x="909" y="279"/>
                      </a:lnTo>
                      <a:lnTo>
                        <a:pt x="918" y="290"/>
                      </a:lnTo>
                      <a:lnTo>
                        <a:pt x="922" y="288"/>
                      </a:lnTo>
                      <a:lnTo>
                        <a:pt x="936" y="296"/>
                      </a:lnTo>
                      <a:lnTo>
                        <a:pt x="941" y="322"/>
                      </a:lnTo>
                      <a:lnTo>
                        <a:pt x="944" y="328"/>
                      </a:lnTo>
                      <a:lnTo>
                        <a:pt x="948" y="332"/>
                      </a:lnTo>
                      <a:lnTo>
                        <a:pt x="971" y="329"/>
                      </a:lnTo>
                      <a:lnTo>
                        <a:pt x="975" y="326"/>
                      </a:lnTo>
                      <a:lnTo>
                        <a:pt x="1005" y="330"/>
                      </a:lnTo>
                      <a:lnTo>
                        <a:pt x="998" y="338"/>
                      </a:lnTo>
                      <a:lnTo>
                        <a:pt x="969" y="359"/>
                      </a:lnTo>
                      <a:lnTo>
                        <a:pt x="966" y="372"/>
                      </a:lnTo>
                      <a:lnTo>
                        <a:pt x="955" y="386"/>
                      </a:lnTo>
                      <a:lnTo>
                        <a:pt x="953" y="398"/>
                      </a:lnTo>
                      <a:lnTo>
                        <a:pt x="946" y="395"/>
                      </a:lnTo>
                      <a:lnTo>
                        <a:pt x="940" y="397"/>
                      </a:lnTo>
                      <a:lnTo>
                        <a:pt x="936" y="395"/>
                      </a:lnTo>
                      <a:lnTo>
                        <a:pt x="934" y="397"/>
                      </a:lnTo>
                      <a:lnTo>
                        <a:pt x="931" y="402"/>
                      </a:lnTo>
                      <a:lnTo>
                        <a:pt x="932" y="411"/>
                      </a:lnTo>
                      <a:lnTo>
                        <a:pt x="939" y="430"/>
                      </a:lnTo>
                      <a:lnTo>
                        <a:pt x="938" y="436"/>
                      </a:lnTo>
                      <a:lnTo>
                        <a:pt x="929" y="436"/>
                      </a:lnTo>
                      <a:lnTo>
                        <a:pt x="912" y="429"/>
                      </a:lnTo>
                      <a:lnTo>
                        <a:pt x="901" y="427"/>
                      </a:lnTo>
                      <a:lnTo>
                        <a:pt x="881" y="445"/>
                      </a:lnTo>
                      <a:lnTo>
                        <a:pt x="874" y="441"/>
                      </a:lnTo>
                      <a:lnTo>
                        <a:pt x="869" y="444"/>
                      </a:lnTo>
                      <a:lnTo>
                        <a:pt x="864" y="444"/>
                      </a:lnTo>
                      <a:lnTo>
                        <a:pt x="862" y="435"/>
                      </a:lnTo>
                      <a:lnTo>
                        <a:pt x="860" y="436"/>
                      </a:lnTo>
                      <a:lnTo>
                        <a:pt x="842" y="427"/>
                      </a:lnTo>
                      <a:lnTo>
                        <a:pt x="838" y="430"/>
                      </a:lnTo>
                      <a:lnTo>
                        <a:pt x="843" y="437"/>
                      </a:lnTo>
                      <a:lnTo>
                        <a:pt x="846" y="438"/>
                      </a:lnTo>
                      <a:lnTo>
                        <a:pt x="849" y="435"/>
                      </a:lnTo>
                      <a:lnTo>
                        <a:pt x="853" y="436"/>
                      </a:lnTo>
                      <a:lnTo>
                        <a:pt x="853" y="437"/>
                      </a:lnTo>
                      <a:lnTo>
                        <a:pt x="846" y="443"/>
                      </a:lnTo>
                      <a:lnTo>
                        <a:pt x="837" y="437"/>
                      </a:lnTo>
                      <a:lnTo>
                        <a:pt x="834" y="439"/>
                      </a:lnTo>
                      <a:lnTo>
                        <a:pt x="848" y="444"/>
                      </a:lnTo>
                      <a:lnTo>
                        <a:pt x="850" y="457"/>
                      </a:lnTo>
                      <a:lnTo>
                        <a:pt x="844" y="455"/>
                      </a:lnTo>
                      <a:lnTo>
                        <a:pt x="826" y="457"/>
                      </a:lnTo>
                      <a:lnTo>
                        <a:pt x="815" y="456"/>
                      </a:lnTo>
                      <a:lnTo>
                        <a:pt x="811" y="453"/>
                      </a:lnTo>
                      <a:lnTo>
                        <a:pt x="793" y="464"/>
                      </a:lnTo>
                      <a:lnTo>
                        <a:pt x="801" y="464"/>
                      </a:lnTo>
                      <a:lnTo>
                        <a:pt x="811" y="470"/>
                      </a:lnTo>
                      <a:lnTo>
                        <a:pt x="818" y="466"/>
                      </a:lnTo>
                      <a:lnTo>
                        <a:pt x="842" y="461"/>
                      </a:lnTo>
                      <a:lnTo>
                        <a:pt x="846" y="467"/>
                      </a:lnTo>
                      <a:lnTo>
                        <a:pt x="852" y="468"/>
                      </a:lnTo>
                      <a:lnTo>
                        <a:pt x="861" y="457"/>
                      </a:lnTo>
                      <a:lnTo>
                        <a:pt x="865" y="459"/>
                      </a:lnTo>
                      <a:lnTo>
                        <a:pt x="873" y="455"/>
                      </a:lnTo>
                      <a:lnTo>
                        <a:pt x="912" y="493"/>
                      </a:lnTo>
                      <a:lnTo>
                        <a:pt x="908" y="500"/>
                      </a:lnTo>
                      <a:lnTo>
                        <a:pt x="889" y="517"/>
                      </a:lnTo>
                      <a:lnTo>
                        <a:pt x="877" y="523"/>
                      </a:lnTo>
                      <a:lnTo>
                        <a:pt x="866" y="523"/>
                      </a:lnTo>
                      <a:lnTo>
                        <a:pt x="858" y="527"/>
                      </a:lnTo>
                      <a:lnTo>
                        <a:pt x="855" y="534"/>
                      </a:lnTo>
                      <a:lnTo>
                        <a:pt x="866" y="557"/>
                      </a:lnTo>
                      <a:lnTo>
                        <a:pt x="871" y="562"/>
                      </a:lnTo>
                      <a:lnTo>
                        <a:pt x="871" y="566"/>
                      </a:lnTo>
                      <a:lnTo>
                        <a:pt x="868" y="580"/>
                      </a:lnTo>
                      <a:lnTo>
                        <a:pt x="860" y="591"/>
                      </a:lnTo>
                      <a:lnTo>
                        <a:pt x="859" y="586"/>
                      </a:lnTo>
                      <a:lnTo>
                        <a:pt x="854" y="582"/>
                      </a:lnTo>
                      <a:lnTo>
                        <a:pt x="844" y="578"/>
                      </a:lnTo>
                      <a:lnTo>
                        <a:pt x="838" y="581"/>
                      </a:lnTo>
                      <a:lnTo>
                        <a:pt x="842" y="581"/>
                      </a:lnTo>
                      <a:lnTo>
                        <a:pt x="845" y="590"/>
                      </a:lnTo>
                      <a:lnTo>
                        <a:pt x="850" y="592"/>
                      </a:lnTo>
                      <a:lnTo>
                        <a:pt x="854" y="590"/>
                      </a:lnTo>
                      <a:lnTo>
                        <a:pt x="855" y="592"/>
                      </a:lnTo>
                      <a:lnTo>
                        <a:pt x="858" y="591"/>
                      </a:lnTo>
                      <a:lnTo>
                        <a:pt x="860" y="596"/>
                      </a:lnTo>
                      <a:lnTo>
                        <a:pt x="872" y="597"/>
                      </a:lnTo>
                      <a:lnTo>
                        <a:pt x="885" y="611"/>
                      </a:lnTo>
                      <a:lnTo>
                        <a:pt x="887" y="625"/>
                      </a:lnTo>
                      <a:lnTo>
                        <a:pt x="877" y="639"/>
                      </a:lnTo>
                      <a:lnTo>
                        <a:pt x="883" y="639"/>
                      </a:lnTo>
                      <a:lnTo>
                        <a:pt x="900" y="667"/>
                      </a:lnTo>
                      <a:lnTo>
                        <a:pt x="896" y="664"/>
                      </a:lnTo>
                      <a:lnTo>
                        <a:pt x="887" y="666"/>
                      </a:lnTo>
                      <a:lnTo>
                        <a:pt x="881" y="662"/>
                      </a:lnTo>
                      <a:lnTo>
                        <a:pt x="875" y="663"/>
                      </a:lnTo>
                      <a:lnTo>
                        <a:pt x="865" y="678"/>
                      </a:lnTo>
                      <a:lnTo>
                        <a:pt x="850" y="682"/>
                      </a:lnTo>
                      <a:lnTo>
                        <a:pt x="850" y="693"/>
                      </a:lnTo>
                      <a:lnTo>
                        <a:pt x="844" y="693"/>
                      </a:lnTo>
                      <a:lnTo>
                        <a:pt x="840" y="700"/>
                      </a:lnTo>
                      <a:lnTo>
                        <a:pt x="838" y="703"/>
                      </a:lnTo>
                      <a:lnTo>
                        <a:pt x="842" y="703"/>
                      </a:lnTo>
                      <a:lnTo>
                        <a:pt x="843" y="699"/>
                      </a:lnTo>
                      <a:lnTo>
                        <a:pt x="853" y="694"/>
                      </a:lnTo>
                      <a:lnTo>
                        <a:pt x="851" y="687"/>
                      </a:lnTo>
                      <a:lnTo>
                        <a:pt x="853" y="683"/>
                      </a:lnTo>
                      <a:lnTo>
                        <a:pt x="865" y="680"/>
                      </a:lnTo>
                      <a:lnTo>
                        <a:pt x="875" y="668"/>
                      </a:lnTo>
                      <a:lnTo>
                        <a:pt x="879" y="667"/>
                      </a:lnTo>
                      <a:lnTo>
                        <a:pt x="885" y="671"/>
                      </a:lnTo>
                      <a:lnTo>
                        <a:pt x="891" y="669"/>
                      </a:lnTo>
                      <a:lnTo>
                        <a:pt x="907" y="681"/>
                      </a:lnTo>
                      <a:lnTo>
                        <a:pt x="922" y="689"/>
                      </a:lnTo>
                      <a:lnTo>
                        <a:pt x="926" y="700"/>
                      </a:lnTo>
                      <a:lnTo>
                        <a:pt x="922" y="708"/>
                      </a:lnTo>
                      <a:lnTo>
                        <a:pt x="924" y="714"/>
                      </a:lnTo>
                      <a:lnTo>
                        <a:pt x="914" y="724"/>
                      </a:lnTo>
                      <a:lnTo>
                        <a:pt x="911" y="731"/>
                      </a:lnTo>
                      <a:lnTo>
                        <a:pt x="913" y="750"/>
                      </a:lnTo>
                      <a:lnTo>
                        <a:pt x="912" y="755"/>
                      </a:lnTo>
                      <a:lnTo>
                        <a:pt x="875" y="776"/>
                      </a:lnTo>
                      <a:lnTo>
                        <a:pt x="871" y="770"/>
                      </a:lnTo>
                      <a:lnTo>
                        <a:pt x="874" y="761"/>
                      </a:lnTo>
                      <a:lnTo>
                        <a:pt x="876" y="765"/>
                      </a:lnTo>
                      <a:lnTo>
                        <a:pt x="875" y="766"/>
                      </a:lnTo>
                      <a:lnTo>
                        <a:pt x="875" y="775"/>
                      </a:lnTo>
                      <a:lnTo>
                        <a:pt x="879" y="775"/>
                      </a:lnTo>
                      <a:lnTo>
                        <a:pt x="880" y="773"/>
                      </a:lnTo>
                      <a:lnTo>
                        <a:pt x="875" y="761"/>
                      </a:lnTo>
                      <a:lnTo>
                        <a:pt x="853" y="757"/>
                      </a:lnTo>
                      <a:lnTo>
                        <a:pt x="837" y="773"/>
                      </a:lnTo>
                      <a:lnTo>
                        <a:pt x="829" y="776"/>
                      </a:lnTo>
                      <a:lnTo>
                        <a:pt x="817" y="787"/>
                      </a:lnTo>
                      <a:lnTo>
                        <a:pt x="802" y="793"/>
                      </a:lnTo>
                      <a:lnTo>
                        <a:pt x="801" y="797"/>
                      </a:lnTo>
                      <a:lnTo>
                        <a:pt x="804" y="800"/>
                      </a:lnTo>
                      <a:lnTo>
                        <a:pt x="806" y="814"/>
                      </a:lnTo>
                      <a:lnTo>
                        <a:pt x="814" y="820"/>
                      </a:lnTo>
                      <a:lnTo>
                        <a:pt x="813" y="822"/>
                      </a:lnTo>
                      <a:lnTo>
                        <a:pt x="802" y="822"/>
                      </a:lnTo>
                      <a:lnTo>
                        <a:pt x="789" y="818"/>
                      </a:lnTo>
                      <a:lnTo>
                        <a:pt x="783" y="824"/>
                      </a:lnTo>
                      <a:lnTo>
                        <a:pt x="784" y="828"/>
                      </a:lnTo>
                      <a:lnTo>
                        <a:pt x="786" y="827"/>
                      </a:lnTo>
                      <a:lnTo>
                        <a:pt x="785" y="833"/>
                      </a:lnTo>
                      <a:lnTo>
                        <a:pt x="782" y="833"/>
                      </a:lnTo>
                      <a:lnTo>
                        <a:pt x="782" y="830"/>
                      </a:lnTo>
                      <a:lnTo>
                        <a:pt x="778" y="835"/>
                      </a:lnTo>
                      <a:lnTo>
                        <a:pt x="784" y="836"/>
                      </a:lnTo>
                      <a:lnTo>
                        <a:pt x="791" y="831"/>
                      </a:lnTo>
                      <a:lnTo>
                        <a:pt x="793" y="835"/>
                      </a:lnTo>
                      <a:lnTo>
                        <a:pt x="798" y="830"/>
                      </a:lnTo>
                      <a:lnTo>
                        <a:pt x="801" y="831"/>
                      </a:lnTo>
                      <a:lnTo>
                        <a:pt x="807" y="839"/>
                      </a:lnTo>
                      <a:lnTo>
                        <a:pt x="814" y="840"/>
                      </a:lnTo>
                      <a:lnTo>
                        <a:pt x="821" y="849"/>
                      </a:lnTo>
                      <a:lnTo>
                        <a:pt x="825" y="857"/>
                      </a:lnTo>
                      <a:lnTo>
                        <a:pt x="831" y="859"/>
                      </a:lnTo>
                      <a:lnTo>
                        <a:pt x="831" y="873"/>
                      </a:lnTo>
                      <a:lnTo>
                        <a:pt x="803" y="903"/>
                      </a:lnTo>
                      <a:lnTo>
                        <a:pt x="801" y="901"/>
                      </a:lnTo>
                      <a:lnTo>
                        <a:pt x="784" y="900"/>
                      </a:lnTo>
                      <a:lnTo>
                        <a:pt x="780" y="904"/>
                      </a:lnTo>
                      <a:lnTo>
                        <a:pt x="770" y="907"/>
                      </a:lnTo>
                      <a:lnTo>
                        <a:pt x="762" y="905"/>
                      </a:lnTo>
                      <a:lnTo>
                        <a:pt x="761" y="901"/>
                      </a:lnTo>
                      <a:lnTo>
                        <a:pt x="762" y="906"/>
                      </a:lnTo>
                      <a:lnTo>
                        <a:pt x="759" y="906"/>
                      </a:lnTo>
                      <a:lnTo>
                        <a:pt x="762" y="907"/>
                      </a:lnTo>
                      <a:lnTo>
                        <a:pt x="759" y="908"/>
                      </a:lnTo>
                      <a:lnTo>
                        <a:pt x="762" y="908"/>
                      </a:lnTo>
                      <a:lnTo>
                        <a:pt x="762" y="910"/>
                      </a:lnTo>
                      <a:lnTo>
                        <a:pt x="759" y="910"/>
                      </a:lnTo>
                      <a:lnTo>
                        <a:pt x="760" y="913"/>
                      </a:lnTo>
                      <a:lnTo>
                        <a:pt x="758" y="914"/>
                      </a:lnTo>
                      <a:lnTo>
                        <a:pt x="760" y="923"/>
                      </a:lnTo>
                      <a:lnTo>
                        <a:pt x="766" y="926"/>
                      </a:lnTo>
                      <a:lnTo>
                        <a:pt x="766" y="923"/>
                      </a:lnTo>
                      <a:lnTo>
                        <a:pt x="769" y="922"/>
                      </a:lnTo>
                      <a:lnTo>
                        <a:pt x="776" y="931"/>
                      </a:lnTo>
                      <a:lnTo>
                        <a:pt x="792" y="929"/>
                      </a:lnTo>
                      <a:lnTo>
                        <a:pt x="799" y="932"/>
                      </a:lnTo>
                      <a:lnTo>
                        <a:pt x="806" y="931"/>
                      </a:lnTo>
                      <a:lnTo>
                        <a:pt x="813" y="923"/>
                      </a:lnTo>
                      <a:lnTo>
                        <a:pt x="829" y="916"/>
                      </a:lnTo>
                      <a:lnTo>
                        <a:pt x="844" y="913"/>
                      </a:lnTo>
                      <a:lnTo>
                        <a:pt x="845" y="906"/>
                      </a:lnTo>
                      <a:lnTo>
                        <a:pt x="849" y="904"/>
                      </a:lnTo>
                      <a:lnTo>
                        <a:pt x="863" y="912"/>
                      </a:lnTo>
                      <a:lnTo>
                        <a:pt x="869" y="928"/>
                      </a:lnTo>
                      <a:lnTo>
                        <a:pt x="876" y="937"/>
                      </a:lnTo>
                      <a:lnTo>
                        <a:pt x="889" y="942"/>
                      </a:lnTo>
                      <a:lnTo>
                        <a:pt x="906" y="953"/>
                      </a:lnTo>
                      <a:lnTo>
                        <a:pt x="912" y="959"/>
                      </a:lnTo>
                      <a:lnTo>
                        <a:pt x="923" y="957"/>
                      </a:lnTo>
                      <a:lnTo>
                        <a:pt x="937" y="960"/>
                      </a:lnTo>
                      <a:lnTo>
                        <a:pt x="937" y="973"/>
                      </a:lnTo>
                      <a:lnTo>
                        <a:pt x="944" y="980"/>
                      </a:lnTo>
                      <a:lnTo>
                        <a:pt x="943" y="987"/>
                      </a:lnTo>
                      <a:lnTo>
                        <a:pt x="946" y="1017"/>
                      </a:lnTo>
                      <a:lnTo>
                        <a:pt x="951" y="1020"/>
                      </a:lnTo>
                      <a:lnTo>
                        <a:pt x="953" y="1030"/>
                      </a:lnTo>
                      <a:lnTo>
                        <a:pt x="962" y="1034"/>
                      </a:lnTo>
                      <a:lnTo>
                        <a:pt x="960" y="1042"/>
                      </a:lnTo>
                      <a:lnTo>
                        <a:pt x="947" y="1048"/>
                      </a:lnTo>
                      <a:lnTo>
                        <a:pt x="921" y="1041"/>
                      </a:lnTo>
                      <a:lnTo>
                        <a:pt x="916" y="1049"/>
                      </a:lnTo>
                      <a:lnTo>
                        <a:pt x="917" y="1054"/>
                      </a:lnTo>
                      <a:lnTo>
                        <a:pt x="922" y="1057"/>
                      </a:lnTo>
                      <a:lnTo>
                        <a:pt x="929" y="1055"/>
                      </a:lnTo>
                      <a:lnTo>
                        <a:pt x="938" y="1064"/>
                      </a:lnTo>
                      <a:lnTo>
                        <a:pt x="939" y="1075"/>
                      </a:lnTo>
                      <a:lnTo>
                        <a:pt x="948" y="1083"/>
                      </a:lnTo>
                      <a:lnTo>
                        <a:pt x="950" y="1093"/>
                      </a:lnTo>
                      <a:lnTo>
                        <a:pt x="945" y="1103"/>
                      </a:lnTo>
                      <a:lnTo>
                        <a:pt x="931" y="1108"/>
                      </a:lnTo>
                      <a:lnTo>
                        <a:pt x="928" y="1103"/>
                      </a:lnTo>
                      <a:lnTo>
                        <a:pt x="918" y="1097"/>
                      </a:lnTo>
                      <a:lnTo>
                        <a:pt x="919" y="1092"/>
                      </a:lnTo>
                      <a:lnTo>
                        <a:pt x="905" y="1087"/>
                      </a:lnTo>
                      <a:lnTo>
                        <a:pt x="891" y="1089"/>
                      </a:lnTo>
                      <a:lnTo>
                        <a:pt x="881" y="1083"/>
                      </a:lnTo>
                      <a:lnTo>
                        <a:pt x="879" y="1078"/>
                      </a:lnTo>
                      <a:lnTo>
                        <a:pt x="887" y="1072"/>
                      </a:lnTo>
                      <a:lnTo>
                        <a:pt x="891" y="1064"/>
                      </a:lnTo>
                      <a:lnTo>
                        <a:pt x="886" y="1063"/>
                      </a:lnTo>
                      <a:lnTo>
                        <a:pt x="883" y="1060"/>
                      </a:lnTo>
                      <a:lnTo>
                        <a:pt x="880" y="1051"/>
                      </a:lnTo>
                      <a:lnTo>
                        <a:pt x="872" y="1049"/>
                      </a:lnTo>
                      <a:lnTo>
                        <a:pt x="864" y="1041"/>
                      </a:lnTo>
                      <a:lnTo>
                        <a:pt x="859" y="1039"/>
                      </a:lnTo>
                      <a:lnTo>
                        <a:pt x="863" y="1035"/>
                      </a:lnTo>
                      <a:lnTo>
                        <a:pt x="880" y="1030"/>
                      </a:lnTo>
                      <a:lnTo>
                        <a:pt x="886" y="1030"/>
                      </a:lnTo>
                      <a:lnTo>
                        <a:pt x="890" y="1037"/>
                      </a:lnTo>
                      <a:lnTo>
                        <a:pt x="899" y="1036"/>
                      </a:lnTo>
                      <a:lnTo>
                        <a:pt x="902" y="1032"/>
                      </a:lnTo>
                      <a:lnTo>
                        <a:pt x="899" y="1027"/>
                      </a:lnTo>
                      <a:lnTo>
                        <a:pt x="889" y="1019"/>
                      </a:lnTo>
                      <a:lnTo>
                        <a:pt x="881" y="1014"/>
                      </a:lnTo>
                      <a:lnTo>
                        <a:pt x="871" y="1012"/>
                      </a:lnTo>
                      <a:lnTo>
                        <a:pt x="868" y="1017"/>
                      </a:lnTo>
                      <a:lnTo>
                        <a:pt x="866" y="1030"/>
                      </a:lnTo>
                      <a:lnTo>
                        <a:pt x="864" y="1031"/>
                      </a:lnTo>
                      <a:lnTo>
                        <a:pt x="861" y="1026"/>
                      </a:lnTo>
                      <a:lnTo>
                        <a:pt x="856" y="1028"/>
                      </a:lnTo>
                      <a:lnTo>
                        <a:pt x="853" y="1032"/>
                      </a:lnTo>
                      <a:lnTo>
                        <a:pt x="858" y="1031"/>
                      </a:lnTo>
                      <a:lnTo>
                        <a:pt x="860" y="1036"/>
                      </a:lnTo>
                      <a:lnTo>
                        <a:pt x="845" y="1044"/>
                      </a:lnTo>
                      <a:lnTo>
                        <a:pt x="848" y="1047"/>
                      </a:lnTo>
                      <a:lnTo>
                        <a:pt x="847" y="1055"/>
                      </a:lnTo>
                      <a:lnTo>
                        <a:pt x="841" y="1066"/>
                      </a:lnTo>
                      <a:lnTo>
                        <a:pt x="834" y="1069"/>
                      </a:lnTo>
                      <a:lnTo>
                        <a:pt x="824" y="1064"/>
                      </a:lnTo>
                      <a:lnTo>
                        <a:pt x="823" y="1069"/>
                      </a:lnTo>
                      <a:lnTo>
                        <a:pt x="816" y="1068"/>
                      </a:lnTo>
                      <a:lnTo>
                        <a:pt x="814" y="1073"/>
                      </a:lnTo>
                      <a:lnTo>
                        <a:pt x="808" y="1074"/>
                      </a:lnTo>
                      <a:lnTo>
                        <a:pt x="802" y="1084"/>
                      </a:lnTo>
                      <a:lnTo>
                        <a:pt x="798" y="1086"/>
                      </a:lnTo>
                      <a:lnTo>
                        <a:pt x="794" y="1095"/>
                      </a:lnTo>
                      <a:lnTo>
                        <a:pt x="786" y="1098"/>
                      </a:lnTo>
                      <a:lnTo>
                        <a:pt x="782" y="1104"/>
                      </a:lnTo>
                      <a:lnTo>
                        <a:pt x="773" y="1105"/>
                      </a:lnTo>
                      <a:lnTo>
                        <a:pt x="764" y="1110"/>
                      </a:lnTo>
                      <a:lnTo>
                        <a:pt x="756" y="1110"/>
                      </a:lnTo>
                      <a:lnTo>
                        <a:pt x="756" y="1105"/>
                      </a:lnTo>
                      <a:lnTo>
                        <a:pt x="751" y="1101"/>
                      </a:lnTo>
                      <a:lnTo>
                        <a:pt x="748" y="1103"/>
                      </a:lnTo>
                      <a:lnTo>
                        <a:pt x="737" y="1104"/>
                      </a:lnTo>
                      <a:lnTo>
                        <a:pt x="734" y="1110"/>
                      </a:lnTo>
                      <a:lnTo>
                        <a:pt x="732" y="1122"/>
                      </a:lnTo>
                      <a:lnTo>
                        <a:pt x="721" y="1128"/>
                      </a:lnTo>
                      <a:lnTo>
                        <a:pt x="716" y="1136"/>
                      </a:lnTo>
                      <a:lnTo>
                        <a:pt x="714" y="1142"/>
                      </a:lnTo>
                      <a:lnTo>
                        <a:pt x="706" y="1137"/>
                      </a:lnTo>
                      <a:lnTo>
                        <a:pt x="686" y="1134"/>
                      </a:lnTo>
                      <a:lnTo>
                        <a:pt x="687" y="1141"/>
                      </a:lnTo>
                      <a:lnTo>
                        <a:pt x="682" y="1138"/>
                      </a:lnTo>
                      <a:lnTo>
                        <a:pt x="681" y="1133"/>
                      </a:lnTo>
                      <a:lnTo>
                        <a:pt x="674" y="1131"/>
                      </a:lnTo>
                      <a:lnTo>
                        <a:pt x="661" y="1133"/>
                      </a:lnTo>
                      <a:lnTo>
                        <a:pt x="653" y="1111"/>
                      </a:lnTo>
                      <a:lnTo>
                        <a:pt x="653" y="1107"/>
                      </a:lnTo>
                      <a:lnTo>
                        <a:pt x="658" y="1099"/>
                      </a:lnTo>
                      <a:lnTo>
                        <a:pt x="656" y="1093"/>
                      </a:lnTo>
                      <a:lnTo>
                        <a:pt x="636" y="1085"/>
                      </a:lnTo>
                      <a:lnTo>
                        <a:pt x="631" y="1085"/>
                      </a:lnTo>
                      <a:lnTo>
                        <a:pt x="608" y="1073"/>
                      </a:lnTo>
                      <a:lnTo>
                        <a:pt x="583" y="1070"/>
                      </a:lnTo>
                      <a:lnTo>
                        <a:pt x="572" y="1074"/>
                      </a:lnTo>
                      <a:lnTo>
                        <a:pt x="547" y="1072"/>
                      </a:lnTo>
                      <a:lnTo>
                        <a:pt x="529" y="1058"/>
                      </a:lnTo>
                      <a:lnTo>
                        <a:pt x="512" y="1052"/>
                      </a:lnTo>
                      <a:lnTo>
                        <a:pt x="491" y="1042"/>
                      </a:lnTo>
                      <a:lnTo>
                        <a:pt x="472" y="1043"/>
                      </a:lnTo>
                      <a:lnTo>
                        <a:pt x="460" y="1040"/>
                      </a:lnTo>
                      <a:lnTo>
                        <a:pt x="442" y="1048"/>
                      </a:lnTo>
                      <a:lnTo>
                        <a:pt x="436" y="1047"/>
                      </a:lnTo>
                      <a:lnTo>
                        <a:pt x="427" y="1038"/>
                      </a:lnTo>
                      <a:lnTo>
                        <a:pt x="422" y="1038"/>
                      </a:lnTo>
                      <a:lnTo>
                        <a:pt x="418" y="1041"/>
                      </a:lnTo>
                      <a:lnTo>
                        <a:pt x="414" y="1039"/>
                      </a:lnTo>
                      <a:lnTo>
                        <a:pt x="408" y="1040"/>
                      </a:lnTo>
                      <a:lnTo>
                        <a:pt x="408" y="1042"/>
                      </a:lnTo>
                      <a:lnTo>
                        <a:pt x="395" y="1049"/>
                      </a:lnTo>
                      <a:lnTo>
                        <a:pt x="395" y="1052"/>
                      </a:lnTo>
                      <a:lnTo>
                        <a:pt x="383" y="1047"/>
                      </a:lnTo>
                      <a:lnTo>
                        <a:pt x="367" y="1051"/>
                      </a:lnTo>
                      <a:lnTo>
                        <a:pt x="341" y="1035"/>
                      </a:lnTo>
                      <a:lnTo>
                        <a:pt x="334" y="1034"/>
                      </a:lnTo>
                      <a:lnTo>
                        <a:pt x="330" y="1036"/>
                      </a:lnTo>
                      <a:lnTo>
                        <a:pt x="315" y="1033"/>
                      </a:lnTo>
                      <a:lnTo>
                        <a:pt x="328" y="983"/>
                      </a:lnTo>
                      <a:lnTo>
                        <a:pt x="329" y="960"/>
                      </a:lnTo>
                      <a:lnTo>
                        <a:pt x="313" y="908"/>
                      </a:lnTo>
                      <a:lnTo>
                        <a:pt x="322" y="859"/>
                      </a:lnTo>
                      <a:lnTo>
                        <a:pt x="324" y="859"/>
                      </a:lnTo>
                      <a:lnTo>
                        <a:pt x="329" y="850"/>
                      </a:lnTo>
                      <a:lnTo>
                        <a:pt x="337" y="823"/>
                      </a:lnTo>
                      <a:lnTo>
                        <a:pt x="342" y="818"/>
                      </a:lnTo>
                      <a:lnTo>
                        <a:pt x="340" y="814"/>
                      </a:lnTo>
                      <a:lnTo>
                        <a:pt x="344" y="805"/>
                      </a:lnTo>
                      <a:lnTo>
                        <a:pt x="337" y="802"/>
                      </a:lnTo>
                      <a:lnTo>
                        <a:pt x="325" y="801"/>
                      </a:lnTo>
                      <a:lnTo>
                        <a:pt x="300" y="805"/>
                      </a:lnTo>
                      <a:lnTo>
                        <a:pt x="271" y="800"/>
                      </a:lnTo>
                      <a:lnTo>
                        <a:pt x="268" y="807"/>
                      </a:lnTo>
                      <a:lnTo>
                        <a:pt x="271" y="824"/>
                      </a:lnTo>
                      <a:lnTo>
                        <a:pt x="273" y="827"/>
                      </a:lnTo>
                      <a:lnTo>
                        <a:pt x="268" y="848"/>
                      </a:lnTo>
                      <a:lnTo>
                        <a:pt x="279" y="863"/>
                      </a:lnTo>
                      <a:lnTo>
                        <a:pt x="276" y="864"/>
                      </a:lnTo>
                      <a:lnTo>
                        <a:pt x="272" y="870"/>
                      </a:lnTo>
                      <a:lnTo>
                        <a:pt x="266" y="873"/>
                      </a:lnTo>
                      <a:lnTo>
                        <a:pt x="253" y="872"/>
                      </a:lnTo>
                      <a:lnTo>
                        <a:pt x="257" y="875"/>
                      </a:lnTo>
                      <a:lnTo>
                        <a:pt x="255" y="877"/>
                      </a:lnTo>
                      <a:lnTo>
                        <a:pt x="261" y="884"/>
                      </a:lnTo>
                      <a:lnTo>
                        <a:pt x="254" y="887"/>
                      </a:lnTo>
                      <a:lnTo>
                        <a:pt x="250" y="888"/>
                      </a:lnTo>
                      <a:lnTo>
                        <a:pt x="242" y="890"/>
                      </a:lnTo>
                      <a:lnTo>
                        <a:pt x="238" y="887"/>
                      </a:lnTo>
                      <a:lnTo>
                        <a:pt x="221" y="858"/>
                      </a:lnTo>
                      <a:lnTo>
                        <a:pt x="219" y="858"/>
                      </a:lnTo>
                      <a:lnTo>
                        <a:pt x="218" y="850"/>
                      </a:lnTo>
                      <a:lnTo>
                        <a:pt x="219" y="848"/>
                      </a:lnTo>
                      <a:lnTo>
                        <a:pt x="225" y="849"/>
                      </a:lnTo>
                      <a:lnTo>
                        <a:pt x="225" y="847"/>
                      </a:lnTo>
                      <a:lnTo>
                        <a:pt x="219" y="847"/>
                      </a:lnTo>
                      <a:lnTo>
                        <a:pt x="226" y="806"/>
                      </a:lnTo>
                      <a:lnTo>
                        <a:pt x="228" y="773"/>
                      </a:lnTo>
                      <a:lnTo>
                        <a:pt x="232" y="765"/>
                      </a:lnTo>
                      <a:lnTo>
                        <a:pt x="238" y="769"/>
                      </a:lnTo>
                      <a:lnTo>
                        <a:pt x="239" y="767"/>
                      </a:lnTo>
                      <a:lnTo>
                        <a:pt x="239" y="764"/>
                      </a:lnTo>
                      <a:lnTo>
                        <a:pt x="232" y="762"/>
                      </a:lnTo>
                      <a:lnTo>
                        <a:pt x="236" y="749"/>
                      </a:lnTo>
                      <a:lnTo>
                        <a:pt x="242" y="743"/>
                      </a:lnTo>
                      <a:lnTo>
                        <a:pt x="243" y="744"/>
                      </a:lnTo>
                      <a:lnTo>
                        <a:pt x="253" y="741"/>
                      </a:lnTo>
                      <a:lnTo>
                        <a:pt x="251" y="749"/>
                      </a:lnTo>
                      <a:lnTo>
                        <a:pt x="269" y="749"/>
                      </a:lnTo>
                      <a:lnTo>
                        <a:pt x="281" y="751"/>
                      </a:lnTo>
                      <a:lnTo>
                        <a:pt x="283" y="754"/>
                      </a:lnTo>
                      <a:lnTo>
                        <a:pt x="291" y="760"/>
                      </a:lnTo>
                      <a:lnTo>
                        <a:pt x="292" y="763"/>
                      </a:lnTo>
                      <a:lnTo>
                        <a:pt x="288" y="771"/>
                      </a:lnTo>
                      <a:lnTo>
                        <a:pt x="280" y="778"/>
                      </a:lnTo>
                      <a:lnTo>
                        <a:pt x="278" y="786"/>
                      </a:lnTo>
                      <a:lnTo>
                        <a:pt x="281" y="788"/>
                      </a:lnTo>
                      <a:lnTo>
                        <a:pt x="278" y="796"/>
                      </a:lnTo>
                      <a:lnTo>
                        <a:pt x="312" y="802"/>
                      </a:lnTo>
                      <a:lnTo>
                        <a:pt x="332" y="799"/>
                      </a:lnTo>
                      <a:lnTo>
                        <a:pt x="332" y="796"/>
                      </a:lnTo>
                      <a:lnTo>
                        <a:pt x="336" y="793"/>
                      </a:lnTo>
                      <a:lnTo>
                        <a:pt x="340" y="792"/>
                      </a:lnTo>
                      <a:lnTo>
                        <a:pt x="342" y="796"/>
                      </a:lnTo>
                      <a:lnTo>
                        <a:pt x="345" y="796"/>
                      </a:lnTo>
                      <a:lnTo>
                        <a:pt x="344" y="793"/>
                      </a:lnTo>
                      <a:lnTo>
                        <a:pt x="347" y="791"/>
                      </a:lnTo>
                      <a:lnTo>
                        <a:pt x="343" y="788"/>
                      </a:lnTo>
                      <a:lnTo>
                        <a:pt x="333" y="729"/>
                      </a:lnTo>
                      <a:lnTo>
                        <a:pt x="331" y="734"/>
                      </a:lnTo>
                      <a:lnTo>
                        <a:pt x="327" y="733"/>
                      </a:lnTo>
                      <a:lnTo>
                        <a:pt x="328" y="727"/>
                      </a:lnTo>
                      <a:lnTo>
                        <a:pt x="331" y="727"/>
                      </a:lnTo>
                      <a:lnTo>
                        <a:pt x="330" y="720"/>
                      </a:lnTo>
                      <a:lnTo>
                        <a:pt x="333" y="716"/>
                      </a:lnTo>
                      <a:lnTo>
                        <a:pt x="328" y="714"/>
                      </a:lnTo>
                      <a:lnTo>
                        <a:pt x="328" y="707"/>
                      </a:lnTo>
                      <a:lnTo>
                        <a:pt x="331" y="704"/>
                      </a:lnTo>
                      <a:lnTo>
                        <a:pt x="329" y="701"/>
                      </a:lnTo>
                      <a:lnTo>
                        <a:pt x="333" y="697"/>
                      </a:lnTo>
                      <a:lnTo>
                        <a:pt x="328" y="696"/>
                      </a:lnTo>
                      <a:lnTo>
                        <a:pt x="327" y="692"/>
                      </a:lnTo>
                      <a:lnTo>
                        <a:pt x="332" y="690"/>
                      </a:lnTo>
                      <a:lnTo>
                        <a:pt x="331" y="687"/>
                      </a:lnTo>
                      <a:lnTo>
                        <a:pt x="326" y="687"/>
                      </a:lnTo>
                      <a:lnTo>
                        <a:pt x="325" y="684"/>
                      </a:lnTo>
                      <a:lnTo>
                        <a:pt x="322" y="684"/>
                      </a:lnTo>
                      <a:lnTo>
                        <a:pt x="321" y="682"/>
                      </a:lnTo>
                      <a:lnTo>
                        <a:pt x="324" y="679"/>
                      </a:lnTo>
                      <a:lnTo>
                        <a:pt x="325" y="673"/>
                      </a:lnTo>
                      <a:lnTo>
                        <a:pt x="327" y="676"/>
                      </a:lnTo>
                      <a:lnTo>
                        <a:pt x="330" y="675"/>
                      </a:lnTo>
                      <a:lnTo>
                        <a:pt x="326" y="658"/>
                      </a:lnTo>
                      <a:lnTo>
                        <a:pt x="329" y="646"/>
                      </a:lnTo>
                      <a:lnTo>
                        <a:pt x="321" y="644"/>
                      </a:lnTo>
                      <a:lnTo>
                        <a:pt x="303" y="654"/>
                      </a:lnTo>
                      <a:lnTo>
                        <a:pt x="299" y="659"/>
                      </a:lnTo>
                      <a:lnTo>
                        <a:pt x="288" y="663"/>
                      </a:lnTo>
                      <a:lnTo>
                        <a:pt x="279" y="684"/>
                      </a:lnTo>
                      <a:lnTo>
                        <a:pt x="272" y="687"/>
                      </a:lnTo>
                      <a:lnTo>
                        <a:pt x="265" y="686"/>
                      </a:lnTo>
                      <a:lnTo>
                        <a:pt x="257" y="679"/>
                      </a:lnTo>
                      <a:lnTo>
                        <a:pt x="257" y="670"/>
                      </a:lnTo>
                      <a:lnTo>
                        <a:pt x="267" y="659"/>
                      </a:lnTo>
                      <a:lnTo>
                        <a:pt x="275" y="656"/>
                      </a:lnTo>
                      <a:lnTo>
                        <a:pt x="291" y="659"/>
                      </a:lnTo>
                      <a:lnTo>
                        <a:pt x="320" y="641"/>
                      </a:lnTo>
                      <a:lnTo>
                        <a:pt x="330" y="644"/>
                      </a:lnTo>
                      <a:lnTo>
                        <a:pt x="335" y="629"/>
                      </a:lnTo>
                      <a:lnTo>
                        <a:pt x="336" y="620"/>
                      </a:lnTo>
                      <a:lnTo>
                        <a:pt x="333" y="616"/>
                      </a:lnTo>
                      <a:lnTo>
                        <a:pt x="333" y="611"/>
                      </a:lnTo>
                      <a:lnTo>
                        <a:pt x="328" y="604"/>
                      </a:lnTo>
                      <a:lnTo>
                        <a:pt x="309" y="527"/>
                      </a:lnTo>
                      <a:lnTo>
                        <a:pt x="298" y="522"/>
                      </a:lnTo>
                      <a:lnTo>
                        <a:pt x="288" y="512"/>
                      </a:lnTo>
                      <a:lnTo>
                        <a:pt x="276" y="507"/>
                      </a:lnTo>
                      <a:lnTo>
                        <a:pt x="269" y="500"/>
                      </a:lnTo>
                      <a:lnTo>
                        <a:pt x="264" y="498"/>
                      </a:lnTo>
                      <a:lnTo>
                        <a:pt x="251" y="503"/>
                      </a:lnTo>
                      <a:lnTo>
                        <a:pt x="224" y="496"/>
                      </a:lnTo>
                      <a:lnTo>
                        <a:pt x="221" y="503"/>
                      </a:lnTo>
                      <a:lnTo>
                        <a:pt x="207" y="497"/>
                      </a:lnTo>
                      <a:lnTo>
                        <a:pt x="212" y="496"/>
                      </a:lnTo>
                      <a:lnTo>
                        <a:pt x="211" y="494"/>
                      </a:lnTo>
                      <a:lnTo>
                        <a:pt x="205" y="492"/>
                      </a:lnTo>
                      <a:lnTo>
                        <a:pt x="204" y="496"/>
                      </a:lnTo>
                      <a:lnTo>
                        <a:pt x="200" y="494"/>
                      </a:lnTo>
                      <a:lnTo>
                        <a:pt x="204" y="488"/>
                      </a:lnTo>
                      <a:lnTo>
                        <a:pt x="199" y="483"/>
                      </a:lnTo>
                      <a:lnTo>
                        <a:pt x="195" y="474"/>
                      </a:lnTo>
                      <a:lnTo>
                        <a:pt x="192" y="471"/>
                      </a:lnTo>
                      <a:lnTo>
                        <a:pt x="136" y="408"/>
                      </a:lnTo>
                      <a:lnTo>
                        <a:pt x="123" y="388"/>
                      </a:lnTo>
                      <a:lnTo>
                        <a:pt x="125" y="381"/>
                      </a:lnTo>
                      <a:lnTo>
                        <a:pt x="135" y="376"/>
                      </a:lnTo>
                      <a:lnTo>
                        <a:pt x="135" y="372"/>
                      </a:lnTo>
                      <a:lnTo>
                        <a:pt x="132" y="366"/>
                      </a:lnTo>
                      <a:lnTo>
                        <a:pt x="121" y="360"/>
                      </a:lnTo>
                      <a:lnTo>
                        <a:pt x="109" y="359"/>
                      </a:lnTo>
                      <a:lnTo>
                        <a:pt x="98" y="374"/>
                      </a:lnTo>
                      <a:lnTo>
                        <a:pt x="97" y="381"/>
                      </a:lnTo>
                      <a:lnTo>
                        <a:pt x="92" y="388"/>
                      </a:lnTo>
                      <a:lnTo>
                        <a:pt x="92" y="399"/>
                      </a:lnTo>
                      <a:lnTo>
                        <a:pt x="95" y="408"/>
                      </a:lnTo>
                      <a:lnTo>
                        <a:pt x="100" y="416"/>
                      </a:lnTo>
                      <a:lnTo>
                        <a:pt x="110" y="420"/>
                      </a:lnTo>
                      <a:lnTo>
                        <a:pt x="105" y="431"/>
                      </a:lnTo>
                      <a:lnTo>
                        <a:pt x="110" y="439"/>
                      </a:lnTo>
                      <a:lnTo>
                        <a:pt x="118" y="444"/>
                      </a:lnTo>
                      <a:lnTo>
                        <a:pt x="130" y="458"/>
                      </a:lnTo>
                      <a:lnTo>
                        <a:pt x="130" y="472"/>
                      </a:lnTo>
                      <a:lnTo>
                        <a:pt x="123" y="477"/>
                      </a:lnTo>
                      <a:lnTo>
                        <a:pt x="66" y="428"/>
                      </a:lnTo>
                      <a:lnTo>
                        <a:pt x="0" y="396"/>
                      </a:lnTo>
                      <a:lnTo>
                        <a:pt x="0" y="390"/>
                      </a:lnTo>
                      <a:lnTo>
                        <a:pt x="11" y="363"/>
                      </a:lnTo>
                      <a:lnTo>
                        <a:pt x="48" y="243"/>
                      </a:lnTo>
                      <a:lnTo>
                        <a:pt x="57" y="182"/>
                      </a:lnTo>
                      <a:lnTo>
                        <a:pt x="54" y="140"/>
                      </a:lnTo>
                      <a:lnTo>
                        <a:pt x="54" y="140"/>
                      </a:lnTo>
                      <a:lnTo>
                        <a:pt x="64" y="138"/>
                      </a:lnTo>
                      <a:lnTo>
                        <a:pt x="64" y="138"/>
                      </a:lnTo>
                      <a:lnTo>
                        <a:pt x="63" y="132"/>
                      </a:lnTo>
                      <a:lnTo>
                        <a:pt x="59" y="129"/>
                      </a:lnTo>
                      <a:lnTo>
                        <a:pt x="59" y="124"/>
                      </a:lnTo>
                      <a:lnTo>
                        <a:pt x="59" y="124"/>
                      </a:lnTo>
                      <a:lnTo>
                        <a:pt x="64" y="123"/>
                      </a:lnTo>
                      <a:lnTo>
                        <a:pt x="84" y="128"/>
                      </a:lnTo>
                      <a:lnTo>
                        <a:pt x="83" y="137"/>
                      </a:lnTo>
                      <a:lnTo>
                        <a:pt x="96" y="144"/>
                      </a:lnTo>
                      <a:lnTo>
                        <a:pt x="110" y="158"/>
                      </a:lnTo>
                      <a:lnTo>
                        <a:pt x="115" y="158"/>
                      </a:lnTo>
                      <a:lnTo>
                        <a:pt x="118" y="154"/>
                      </a:lnTo>
                      <a:lnTo>
                        <a:pt x="138" y="154"/>
                      </a:lnTo>
                      <a:lnTo>
                        <a:pt x="155" y="132"/>
                      </a:lnTo>
                      <a:lnTo>
                        <a:pt x="172" y="154"/>
                      </a:lnTo>
                      <a:lnTo>
                        <a:pt x="196" y="156"/>
                      </a:lnTo>
                      <a:lnTo>
                        <a:pt x="191" y="160"/>
                      </a:lnTo>
                      <a:lnTo>
                        <a:pt x="206" y="167"/>
                      </a:lnTo>
                      <a:lnTo>
                        <a:pt x="211" y="178"/>
                      </a:lnTo>
                      <a:lnTo>
                        <a:pt x="236" y="178"/>
                      </a:lnTo>
                      <a:lnTo>
                        <a:pt x="247" y="167"/>
                      </a:lnTo>
                      <a:lnTo>
                        <a:pt x="246" y="145"/>
                      </a:lnTo>
                      <a:lnTo>
                        <a:pt x="259" y="142"/>
                      </a:lnTo>
                      <a:lnTo>
                        <a:pt x="266" y="132"/>
                      </a:lnTo>
                      <a:lnTo>
                        <a:pt x="257" y="114"/>
                      </a:lnTo>
                      <a:lnTo>
                        <a:pt x="279" y="107"/>
                      </a:lnTo>
                      <a:lnTo>
                        <a:pt x="292" y="120"/>
                      </a:lnTo>
                      <a:lnTo>
                        <a:pt x="339" y="107"/>
                      </a:lnTo>
                      <a:lnTo>
                        <a:pt x="356" y="117"/>
                      </a:lnTo>
                      <a:lnTo>
                        <a:pt x="364" y="142"/>
                      </a:lnTo>
                      <a:lnTo>
                        <a:pt x="385" y="149"/>
                      </a:lnTo>
                      <a:lnTo>
                        <a:pt x="423" y="136"/>
                      </a:lnTo>
                      <a:lnTo>
                        <a:pt x="405" y="117"/>
                      </a:lnTo>
                      <a:lnTo>
                        <a:pt x="421" y="107"/>
                      </a:lnTo>
                      <a:lnTo>
                        <a:pt x="430" y="73"/>
                      </a:lnTo>
                      <a:lnTo>
                        <a:pt x="440" y="74"/>
                      </a:lnTo>
                      <a:lnTo>
                        <a:pt x="445" y="59"/>
                      </a:lnTo>
                      <a:lnTo>
                        <a:pt x="453" y="61"/>
                      </a:lnTo>
                      <a:lnTo>
                        <a:pt x="454" y="59"/>
                      </a:lnTo>
                      <a:lnTo>
                        <a:pt x="502" y="70"/>
                      </a:lnTo>
                      <a:lnTo>
                        <a:pt x="497" y="109"/>
                      </a:lnTo>
                      <a:lnTo>
                        <a:pt x="526" y="124"/>
                      </a:lnTo>
                      <a:lnTo>
                        <a:pt x="537" y="114"/>
                      </a:lnTo>
                      <a:lnTo>
                        <a:pt x="546" y="118"/>
                      </a:lnTo>
                      <a:lnTo>
                        <a:pt x="554" y="104"/>
                      </a:lnTo>
                      <a:lnTo>
                        <a:pt x="561" y="110"/>
                      </a:lnTo>
                      <a:lnTo>
                        <a:pt x="569" y="88"/>
                      </a:lnTo>
                      <a:lnTo>
                        <a:pt x="576" y="78"/>
                      </a:lnTo>
                      <a:lnTo>
                        <a:pt x="587" y="86"/>
                      </a:lnTo>
                      <a:lnTo>
                        <a:pt x="605" y="71"/>
                      </a:lnTo>
                      <a:lnTo>
                        <a:pt x="631" y="38"/>
                      </a:lnTo>
                      <a:lnTo>
                        <a:pt x="631" y="25"/>
                      </a:lnTo>
                      <a:lnTo>
                        <a:pt x="644" y="0"/>
                      </a:lnTo>
                      <a:lnTo>
                        <a:pt x="666" y="1"/>
                      </a:lnTo>
                      <a:lnTo>
                        <a:pt x="679" y="16"/>
                      </a:lnTo>
                      <a:lnTo>
                        <a:pt x="692" y="17"/>
                      </a:lnTo>
                      <a:close/>
                      <a:moveTo>
                        <a:pt x="891" y="736"/>
                      </a:moveTo>
                      <a:lnTo>
                        <a:pt x="889" y="736"/>
                      </a:lnTo>
                      <a:lnTo>
                        <a:pt x="891" y="740"/>
                      </a:lnTo>
                      <a:lnTo>
                        <a:pt x="906" y="738"/>
                      </a:lnTo>
                      <a:lnTo>
                        <a:pt x="904" y="733"/>
                      </a:lnTo>
                      <a:lnTo>
                        <a:pt x="904" y="731"/>
                      </a:lnTo>
                      <a:lnTo>
                        <a:pt x="899" y="724"/>
                      </a:lnTo>
                      <a:lnTo>
                        <a:pt x="891" y="728"/>
                      </a:lnTo>
                      <a:lnTo>
                        <a:pt x="891" y="736"/>
                      </a:lnTo>
                      <a:close/>
                    </a:path>
                  </a:pathLst>
                </a:custGeom>
                <a:solidFill>
                  <a:srgbClr val="72849C"/>
                </a:solidFill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lIns="68571" tIns="34286" rIns="68571" bIns="34286" anchor="ctr"/>
                <a:lstStyle/>
                <a:p>
                  <a:pPr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8445" name="Etiquettes"/>
              <p:cNvGrpSpPr>
                <a:grpSpLocks/>
              </p:cNvGrpSpPr>
              <p:nvPr/>
            </p:nvGrpSpPr>
            <p:grpSpPr bwMode="auto">
              <a:xfrm>
                <a:off x="3971274" y="3023367"/>
                <a:ext cx="5299712" cy="2520870"/>
                <a:chOff x="3971274" y="3023367"/>
                <a:chExt cx="5299712" cy="2520870"/>
              </a:xfrm>
            </p:grpSpPr>
            <p:sp>
              <p:nvSpPr>
                <p:cNvPr id="33" name="Etiquette - Central Denmark Region" hidden="1"/>
                <p:cNvSpPr>
                  <a:spLocks noChangeArrowheads="1"/>
                </p:cNvSpPr>
                <p:nvPr/>
              </p:nvSpPr>
              <p:spPr bwMode="auto">
                <a:xfrm>
                  <a:off x="4088573" y="4084208"/>
                  <a:ext cx="1465100" cy="1397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457154" eaLnBrk="1" hangingPunct="1">
                    <a:defRPr/>
                  </a:pPr>
                  <a:r>
                    <a:rPr lang="en-US" altLang="fr-FR" sz="675">
                      <a:solidFill>
                        <a:srgbClr val="FFFFFF"/>
                      </a:solidFill>
                      <a:latin typeface="Calibri" panose="020F0502020204030204"/>
                    </a:rPr>
                    <a:t>Central Denmark Region</a:t>
                  </a:r>
                  <a:endParaRPr lang="en-US" altLang="fr-FR" sz="675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4" name="Etiquette - North Denmark Region" hidden="1"/>
                <p:cNvSpPr>
                  <a:spLocks noChangeArrowheads="1"/>
                </p:cNvSpPr>
                <p:nvPr/>
              </p:nvSpPr>
              <p:spPr bwMode="auto">
                <a:xfrm>
                  <a:off x="4850764" y="3023758"/>
                  <a:ext cx="910395" cy="2772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457154" eaLnBrk="1" hangingPunct="1">
                    <a:defRPr/>
                  </a:pPr>
                  <a:r>
                    <a:rPr lang="en-US" altLang="fr-FR" sz="675">
                      <a:solidFill>
                        <a:srgbClr val="FFFFFF"/>
                      </a:solidFill>
                      <a:latin typeface="Calibri" panose="020F0502020204030204"/>
                    </a:rPr>
                    <a:t>North Denmark Region</a:t>
                  </a:r>
                  <a:endParaRPr lang="en-US" altLang="fr-FR" sz="675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5" name="Etiquette - Region of Southern Denmark" hidden="1"/>
                <p:cNvSpPr>
                  <a:spLocks noChangeArrowheads="1"/>
                </p:cNvSpPr>
                <p:nvPr/>
              </p:nvSpPr>
              <p:spPr bwMode="auto">
                <a:xfrm>
                  <a:off x="3972128" y="5032474"/>
                  <a:ext cx="1333834" cy="27728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457154" eaLnBrk="1" hangingPunct="1">
                    <a:defRPr/>
                  </a:pPr>
                  <a:r>
                    <a:rPr lang="en-US" altLang="fr-FR" sz="675">
                      <a:solidFill>
                        <a:srgbClr val="FFFFFF"/>
                      </a:solidFill>
                      <a:latin typeface="Calibri" panose="020F0502020204030204"/>
                    </a:rPr>
                    <a:t>Region of Southern Denmark</a:t>
                  </a:r>
                  <a:endParaRPr lang="en-US" altLang="fr-FR" sz="675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6" name="Etiquette - DARK - Capital Region of Denmark" hidden="1"/>
                <p:cNvSpPr>
                  <a:spLocks noChangeArrowheads="1"/>
                </p:cNvSpPr>
                <p:nvPr/>
              </p:nvSpPr>
              <p:spPr bwMode="auto">
                <a:xfrm>
                  <a:off x="7804254" y="4793291"/>
                  <a:ext cx="1467217" cy="1375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457154" eaLnBrk="1" hangingPunct="1">
                    <a:defRPr/>
                  </a:pPr>
                  <a:r>
                    <a:rPr lang="en-US" altLang="fr-FR" sz="675">
                      <a:solidFill>
                        <a:srgbClr val="000000"/>
                      </a:solidFill>
                      <a:latin typeface="Calibri" panose="020F0502020204030204"/>
                    </a:rPr>
                    <a:t>Capital Region of Denmark</a:t>
                  </a:r>
                  <a:endParaRPr lang="en-US" altLang="fr-FR" sz="675" dirty="0">
                    <a:solidFill>
                      <a:srgbClr val="000000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37" name="Etiquette - Region Zealand" hidden="1"/>
                <p:cNvSpPr>
                  <a:spLocks noChangeArrowheads="1"/>
                </p:cNvSpPr>
                <p:nvPr/>
              </p:nvSpPr>
              <p:spPr bwMode="auto">
                <a:xfrm>
                  <a:off x="6527584" y="5407124"/>
                  <a:ext cx="1100943" cy="1375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 defTabSz="457154" eaLnBrk="1" hangingPunct="1">
                    <a:defRPr/>
                  </a:pPr>
                  <a:r>
                    <a:rPr lang="en-US" altLang="fr-FR" sz="675">
                      <a:solidFill>
                        <a:srgbClr val="FFFFFF"/>
                      </a:solidFill>
                      <a:latin typeface="Calibri" panose="020F0502020204030204"/>
                    </a:rPr>
                    <a:t>Region Zealand</a:t>
                  </a:r>
                  <a:endParaRPr lang="en-US" altLang="fr-FR" sz="675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18446" name="GradientColorLegend"/>
              <p:cNvGrpSpPr>
                <a:grpSpLocks/>
              </p:cNvGrpSpPr>
              <p:nvPr/>
            </p:nvGrpSpPr>
            <p:grpSpPr bwMode="auto">
              <a:xfrm>
                <a:off x="7454917" y="1862908"/>
                <a:ext cx="120681" cy="1669767"/>
                <a:chOff x="1066169" y="2429137"/>
                <a:chExt cx="120681" cy="1669767"/>
              </a:xfrm>
            </p:grpSpPr>
            <p:sp>
              <p:nvSpPr>
                <p:cNvPr id="30" name="Etiquette - GradientColorLegend - DARK - Shape" hidden="1"/>
                <p:cNvSpPr/>
                <p:nvPr/>
              </p:nvSpPr>
              <p:spPr>
                <a:xfrm>
                  <a:off x="1066169" y="2576104"/>
                  <a:ext cx="120681" cy="138006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D9D9D9"/>
                    </a:gs>
                    <a:gs pos="100000">
                      <a:srgbClr val="D9D9D9"/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  <p:sp>
              <p:nvSpPr>
                <p:cNvPr id="31" name="Etiquette - GradientColorLegend - DARK - MaxValue" hidden="1"/>
                <p:cNvSpPr txBox="1"/>
                <p:nvPr/>
              </p:nvSpPr>
              <p:spPr>
                <a:xfrm>
                  <a:off x="1094441" y="2429137"/>
                  <a:ext cx="64136" cy="1385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anchor="b">
                  <a:spAutoFit/>
                </a:bodyPr>
                <a:lstStyle/>
                <a:p>
                  <a:pPr algn="ctr" defTabSz="457154">
                    <a:defRPr/>
                  </a:pPr>
                  <a:r>
                    <a:rPr lang="en-US" sz="675">
                      <a:solidFill>
                        <a:prstClr val="black"/>
                      </a:solidFill>
                      <a:latin typeface="Arial"/>
                    </a:rPr>
                    <a:t>1</a:t>
                  </a: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32" name="Etiquette - GradientColorLegend - DARK - MinValue" hidden="1"/>
                <p:cNvSpPr txBox="1"/>
                <p:nvPr/>
              </p:nvSpPr>
              <p:spPr>
                <a:xfrm>
                  <a:off x="1094441" y="3960404"/>
                  <a:ext cx="64136" cy="1385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/>
                <a:p>
                  <a:pPr algn="ctr" defTabSz="457154">
                    <a:defRPr/>
                  </a:pPr>
                  <a:r>
                    <a:rPr lang="en-US" sz="675">
                      <a:solidFill>
                        <a:prstClr val="black"/>
                      </a:solidFill>
                      <a:latin typeface="Arial"/>
                    </a:rPr>
                    <a:t>1</a:t>
                  </a: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18447" name="RangeColorLegend"/>
              <p:cNvGrpSpPr>
                <a:grpSpLocks/>
              </p:cNvGrpSpPr>
              <p:nvPr/>
            </p:nvGrpSpPr>
            <p:grpSpPr bwMode="auto">
              <a:xfrm>
                <a:off x="7431067" y="2301433"/>
                <a:ext cx="1270800" cy="1538880"/>
                <a:chOff x="9709622" y="4919762"/>
                <a:chExt cx="1270800" cy="1538880"/>
              </a:xfrm>
            </p:grpSpPr>
            <p:sp>
              <p:nvSpPr>
                <p:cNvPr id="10" name="Etiquette - RangeColorLegend - DARK - Color - 2" hidden="1"/>
                <p:cNvSpPr/>
                <p:nvPr/>
              </p:nvSpPr>
              <p:spPr>
                <a:xfrm>
                  <a:off x="9710183" y="5074819"/>
                  <a:ext cx="154555" cy="152400"/>
                </a:xfrm>
                <a:prstGeom prst="rect">
                  <a:avLst/>
                </a:prstGeom>
                <a:solidFill>
                  <a:srgbClr val="00827D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1" name="Etiquette - RangeColorLegend - DARK - Color - 1" hidden="1"/>
                <p:cNvSpPr/>
                <p:nvPr/>
              </p:nvSpPr>
              <p:spPr>
                <a:xfrm>
                  <a:off x="9710183" y="4920303"/>
                  <a:ext cx="154555" cy="154516"/>
                </a:xfrm>
                <a:prstGeom prst="rect">
                  <a:avLst/>
                </a:prstGeom>
                <a:solidFill>
                  <a:srgbClr val="72849C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2" name="Etiquette - RangeColorLegend - DARK - Number - 2" hidden="1"/>
                <p:cNvSpPr/>
                <p:nvPr/>
              </p:nvSpPr>
              <p:spPr>
                <a:xfrm>
                  <a:off x="9864738" y="5074819"/>
                  <a:ext cx="1115764" cy="15240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>
                      <a:solidFill>
                        <a:prstClr val="black"/>
                      </a:solidFill>
                      <a:latin typeface="Arial"/>
                    </a:rPr>
                    <a:t>&lt; 1</a:t>
                  </a: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3" name="Etiquette - RangeColorLegend - DARK - Number - 1" hidden="1"/>
                <p:cNvSpPr/>
                <p:nvPr/>
              </p:nvSpPr>
              <p:spPr>
                <a:xfrm>
                  <a:off x="9864738" y="4920303"/>
                  <a:ext cx="1115764" cy="15451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>
                      <a:solidFill>
                        <a:prstClr val="black"/>
                      </a:solidFill>
                      <a:latin typeface="Arial"/>
                    </a:rPr>
                    <a:t>1+</a:t>
                  </a: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4" name="Etiquette - RangeColorLegend - DARK - Color - 4" hidden="1"/>
                <p:cNvSpPr/>
                <p:nvPr/>
              </p:nvSpPr>
              <p:spPr>
                <a:xfrm>
                  <a:off x="9710183" y="5381737"/>
                  <a:ext cx="154555" cy="15451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5" name="Etiquette - RangeColorLegend - DARK - Color - 3" hidden="1"/>
                <p:cNvSpPr/>
                <p:nvPr/>
              </p:nvSpPr>
              <p:spPr>
                <a:xfrm>
                  <a:off x="9710183" y="5227219"/>
                  <a:ext cx="154555" cy="154517"/>
                </a:xfrm>
                <a:prstGeom prst="rect">
                  <a:avLst/>
                </a:prstGeom>
                <a:solidFill>
                  <a:srgbClr val="FFFF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6" name="Etiquette - RangeColorLegend - DARK - Number - 4" hidden="1"/>
                <p:cNvSpPr/>
                <p:nvPr/>
              </p:nvSpPr>
              <p:spPr>
                <a:xfrm>
                  <a:off x="9864738" y="5381737"/>
                  <a:ext cx="1115764" cy="15451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[300 to 400[</a:t>
                  </a:r>
                </a:p>
              </p:txBody>
            </p:sp>
            <p:sp>
              <p:nvSpPr>
                <p:cNvPr id="17" name="Etiquette - RangeColorLegend - DARK - Number - 3" hidden="1"/>
                <p:cNvSpPr/>
                <p:nvPr/>
              </p:nvSpPr>
              <p:spPr>
                <a:xfrm>
                  <a:off x="9864738" y="5227219"/>
                  <a:ext cx="1115764" cy="154517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[200 to 300[</a:t>
                  </a:r>
                </a:p>
              </p:txBody>
            </p:sp>
            <p:sp>
              <p:nvSpPr>
                <p:cNvPr id="18" name="Etiquette - RangeColorLegend - DARK - Color - 5" hidden="1"/>
                <p:cNvSpPr/>
                <p:nvPr/>
              </p:nvSpPr>
              <p:spPr>
                <a:xfrm>
                  <a:off x="9710183" y="5536253"/>
                  <a:ext cx="154555" cy="154517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19" name="Etiquette - RangeColorLegend - DARK - Number - 5" hidden="1"/>
                <p:cNvSpPr/>
                <p:nvPr/>
              </p:nvSpPr>
              <p:spPr>
                <a:xfrm>
                  <a:off x="9864738" y="5536253"/>
                  <a:ext cx="1115764" cy="154517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  <p:sp>
              <p:nvSpPr>
                <p:cNvPr id="20" name="Etiquette - RangeColorLegend - DARK - Color - 6" hidden="1">
                  <a:extLst>
                    <a:ext uri="{FF2B5EF4-FFF2-40B4-BE49-F238E27FC236}">
                      <a16:creationId xmlns:a16="http://schemas.microsoft.com/office/drawing/2014/main" id="{C2A6AE5F-66EE-4BE3-B37C-9CB01198DC3E}"/>
                    </a:ext>
                  </a:extLst>
                </p:cNvPr>
                <p:cNvSpPr/>
                <p:nvPr/>
              </p:nvSpPr>
              <p:spPr>
                <a:xfrm>
                  <a:off x="9710183" y="5690770"/>
                  <a:ext cx="154555" cy="152400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1" name="Etiquette - RangeColorLegend - DARK - Number - 6" hidden="1">
                  <a:extLst>
                    <a:ext uri="{FF2B5EF4-FFF2-40B4-BE49-F238E27FC236}">
                      <a16:creationId xmlns:a16="http://schemas.microsoft.com/office/drawing/2014/main" id="{6AAF67A1-2C24-4FDC-818B-13ED4D024433}"/>
                    </a:ext>
                  </a:extLst>
                </p:cNvPr>
                <p:cNvSpPr/>
                <p:nvPr/>
              </p:nvSpPr>
              <p:spPr>
                <a:xfrm>
                  <a:off x="9864738" y="5690770"/>
                  <a:ext cx="1115764" cy="15240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  <p:sp>
              <p:nvSpPr>
                <p:cNvPr id="22" name="Etiquette - RangeColorLegend - DARK - Color - 7" hidden="1">
                  <a:extLst>
                    <a:ext uri="{FF2B5EF4-FFF2-40B4-BE49-F238E27FC236}">
                      <a16:creationId xmlns:a16="http://schemas.microsoft.com/office/drawing/2014/main" id="{95230B34-3246-4ED4-B6BE-A7DC4FE3C939}"/>
                    </a:ext>
                  </a:extLst>
                </p:cNvPr>
                <p:cNvSpPr/>
                <p:nvPr/>
              </p:nvSpPr>
              <p:spPr>
                <a:xfrm>
                  <a:off x="9710183" y="5843170"/>
                  <a:ext cx="154555" cy="15451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3" name="Etiquette - RangeColorLegend - DARK - Number - 7" hidden="1">
                  <a:extLst>
                    <a:ext uri="{FF2B5EF4-FFF2-40B4-BE49-F238E27FC236}">
                      <a16:creationId xmlns:a16="http://schemas.microsoft.com/office/drawing/2014/main" id="{B54AE0A7-2C2B-46B9-BE52-ED501A05C791}"/>
                    </a:ext>
                  </a:extLst>
                </p:cNvPr>
                <p:cNvSpPr/>
                <p:nvPr/>
              </p:nvSpPr>
              <p:spPr>
                <a:xfrm>
                  <a:off x="9864738" y="5843170"/>
                  <a:ext cx="1115764" cy="15451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  <p:sp>
              <p:nvSpPr>
                <p:cNvPr id="24" name="Etiquette - RangeColorLegend - DARK - Color - 8" hidden="1">
                  <a:extLst>
                    <a:ext uri="{FF2B5EF4-FFF2-40B4-BE49-F238E27FC236}">
                      <a16:creationId xmlns:a16="http://schemas.microsoft.com/office/drawing/2014/main" id="{73ABA286-E8EA-4B11-8264-D06CE65839B9}"/>
                    </a:ext>
                  </a:extLst>
                </p:cNvPr>
                <p:cNvSpPr/>
                <p:nvPr/>
              </p:nvSpPr>
              <p:spPr>
                <a:xfrm>
                  <a:off x="9710183" y="5997686"/>
                  <a:ext cx="154555" cy="154517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5" name="Etiquette - RangeColorLegend - DARK - Number - 8" hidden="1">
                  <a:extLst>
                    <a:ext uri="{FF2B5EF4-FFF2-40B4-BE49-F238E27FC236}">
                      <a16:creationId xmlns:a16="http://schemas.microsoft.com/office/drawing/2014/main" id="{6DCEBA06-10E5-4D0C-8AF6-3E99AFC87711}"/>
                    </a:ext>
                  </a:extLst>
                </p:cNvPr>
                <p:cNvSpPr/>
                <p:nvPr/>
              </p:nvSpPr>
              <p:spPr>
                <a:xfrm>
                  <a:off x="9864738" y="5997686"/>
                  <a:ext cx="1115764" cy="154517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  <p:sp>
              <p:nvSpPr>
                <p:cNvPr id="26" name="Etiquette - RangeColorLegend - DARK - Color - 9" hidden="1">
                  <a:extLst>
                    <a:ext uri="{FF2B5EF4-FFF2-40B4-BE49-F238E27FC236}">
                      <a16:creationId xmlns:a16="http://schemas.microsoft.com/office/drawing/2014/main" id="{3F6BB02C-C3BD-44DD-AA03-8A27A6A8D899}"/>
                    </a:ext>
                  </a:extLst>
                </p:cNvPr>
                <p:cNvSpPr/>
                <p:nvPr/>
              </p:nvSpPr>
              <p:spPr>
                <a:xfrm>
                  <a:off x="9710183" y="6152203"/>
                  <a:ext cx="154555" cy="152400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7" name="Etiquette - RangeColorLegend - DARK - Number - 9" hidden="1">
                  <a:extLst>
                    <a:ext uri="{FF2B5EF4-FFF2-40B4-BE49-F238E27FC236}">
                      <a16:creationId xmlns:a16="http://schemas.microsoft.com/office/drawing/2014/main" id="{49792B86-D3CB-44FD-B1F4-A12600F70980}"/>
                    </a:ext>
                  </a:extLst>
                </p:cNvPr>
                <p:cNvSpPr/>
                <p:nvPr/>
              </p:nvSpPr>
              <p:spPr>
                <a:xfrm>
                  <a:off x="9864738" y="6152203"/>
                  <a:ext cx="1115764" cy="15240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  <p:sp>
              <p:nvSpPr>
                <p:cNvPr id="28" name="Etiquette - RangeColorLegend - DARK - Color - 10" hidden="1">
                  <a:extLst>
                    <a:ext uri="{FF2B5EF4-FFF2-40B4-BE49-F238E27FC236}">
                      <a16:creationId xmlns:a16="http://schemas.microsoft.com/office/drawing/2014/main" id="{2094DFD8-7316-4D2B-81B5-988EF959A873}"/>
                    </a:ext>
                  </a:extLst>
                </p:cNvPr>
                <p:cNvSpPr/>
                <p:nvPr/>
              </p:nvSpPr>
              <p:spPr>
                <a:xfrm>
                  <a:off x="9710183" y="6304603"/>
                  <a:ext cx="154555" cy="15451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solidFill>
                    <a:schemeClr val="tx1"/>
                  </a:solidFill>
                </a:ln>
              </p:spPr>
              <p:txBody>
                <a:bodyPr lIns="0" tIns="0" rIns="0" bIns="0" anchor="ctr"/>
                <a:lstStyle/>
                <a:p>
                  <a:pPr algn="ctr" defTabSz="457154">
                    <a:defRPr/>
                  </a:pPr>
                  <a:endParaRPr lang="en-US" sz="675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9" name="Etiquette - RangeColorLegend - DARK - Number - 10" hidden="1">
                  <a:extLst>
                    <a:ext uri="{FF2B5EF4-FFF2-40B4-BE49-F238E27FC236}">
                      <a16:creationId xmlns:a16="http://schemas.microsoft.com/office/drawing/2014/main" id="{6B2ACDA6-F9DB-4172-A3E2-3502B35C7950}"/>
                    </a:ext>
                  </a:extLst>
                </p:cNvPr>
                <p:cNvSpPr/>
                <p:nvPr/>
              </p:nvSpPr>
              <p:spPr>
                <a:xfrm>
                  <a:off x="9864738" y="6304603"/>
                  <a:ext cx="1115764" cy="15451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 lIns="53993" tIns="0" rIns="0" bIns="0" anchor="ctr"/>
                <a:lstStyle/>
                <a:p>
                  <a:pPr defTabSz="457154">
                    <a:defRPr/>
                  </a:pPr>
                  <a:r>
                    <a:rPr lang="en-US" sz="675" dirty="0">
                      <a:solidFill>
                        <a:prstClr val="black"/>
                      </a:solidFill>
                      <a:latin typeface="Arial"/>
                    </a:rPr>
                    <a:t>400+</a:t>
                  </a:r>
                </a:p>
              </p:txBody>
            </p:sp>
          </p:grpSp>
        </p:grpSp>
        <p:sp>
          <p:nvSpPr>
            <p:cNvPr id="44" name="POWER_USER_DATA_MAP_STORAGE"/>
            <p:cNvSpPr/>
            <p:nvPr/>
          </p:nvSpPr>
          <p:spPr>
            <a:xfrm>
              <a:off x="2929731" y="1504951"/>
              <a:ext cx="0" cy="0"/>
            </a:xfrm>
            <a:prstGeom prst="rect">
              <a:avLst/>
            </a:prstGeom>
            <a:solidFill>
              <a:schemeClr val="accent1">
                <a:tint val="100000"/>
                <a:shade val="100000"/>
                <a:satMod val="130000"/>
              </a:schemeClr>
            </a:solidFill>
            <a:ln w="12700"/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71" tIns="34286" rIns="68571" bIns="34286" anchor="ctr"/>
            <a:lstStyle/>
            <a:p>
              <a:pPr algn="ctr" defTabSz="457154">
                <a:defRPr/>
              </a:pPr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7153" y="503274"/>
            <a:ext cx="9312374" cy="972716"/>
          </a:xfrm>
          <a:solidFill>
            <a:schemeClr val="bg1"/>
          </a:solidFill>
        </p:spPr>
        <p:txBody>
          <a:bodyPr rtlCol="0" anchor="ctr"/>
          <a:lstStyle/>
          <a:p>
            <a:pPr>
              <a:defRPr/>
            </a:pPr>
            <a:r>
              <a:rPr lang="en-US" dirty="0" err="1"/>
              <a:t>Projektets</a:t>
            </a:r>
            <a:r>
              <a:rPr lang="en-US" dirty="0"/>
              <a:t> </a:t>
            </a:r>
            <a:r>
              <a:rPr lang="en-US" dirty="0" err="1"/>
              <a:t>deltagere</a:t>
            </a:r>
            <a:endParaRPr lang="en-US" dirty="0"/>
          </a:p>
        </p:txBody>
      </p:sp>
      <p:sp>
        <p:nvSpPr>
          <p:cNvPr id="47" name="Oval 46"/>
          <p:cNvSpPr/>
          <p:nvPr/>
        </p:nvSpPr>
        <p:spPr>
          <a:xfrm>
            <a:off x="4808134" y="4436934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3319550" y="4610553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3319550" y="3788127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2014524" y="3326878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4467676" y="4367875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3886827" y="4375422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2132203" y="4537957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3417782" y="4758419"/>
            <a:ext cx="134920" cy="134919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06120" y="1679416"/>
            <a:ext cx="121167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54">
              <a:spcBef>
                <a:spcPts val="432"/>
              </a:spcBef>
            </a:pPr>
            <a:r>
              <a:rPr lang="da-DK" sz="2000" dirty="0">
                <a:solidFill>
                  <a:srgbClr val="000000"/>
                </a:solidFill>
                <a:latin typeface="Calibri" panose="020F0502020204030204"/>
              </a:rPr>
              <a:t>Forsyninger</a:t>
            </a:r>
            <a:endParaRPr lang="de-CH" sz="2000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6892" y="2039205"/>
            <a:ext cx="430236" cy="25760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4501403" y="2015443"/>
            <a:ext cx="135844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457154">
              <a:spcBef>
                <a:spcPts val="432"/>
              </a:spcBef>
            </a:pPr>
            <a:r>
              <a:rPr lang="da-DK" sz="2000" dirty="0">
                <a:solidFill>
                  <a:srgbClr val="000000"/>
                </a:solidFill>
                <a:latin typeface="Calibri" panose="020F0502020204030204"/>
              </a:rPr>
              <a:t>Universiteter</a:t>
            </a:r>
            <a:endParaRPr lang="de-CH" sz="2000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662" y="4806900"/>
            <a:ext cx="280800" cy="16812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1573" y="4153950"/>
            <a:ext cx="279377" cy="169200"/>
          </a:xfrm>
          <a:prstGeom prst="rect">
            <a:avLst/>
          </a:prstGeom>
        </p:spPr>
      </p:pic>
      <p:sp>
        <p:nvSpPr>
          <p:cNvPr id="72" name="Oval 71"/>
          <p:cNvSpPr/>
          <p:nvPr/>
        </p:nvSpPr>
        <p:spPr>
          <a:xfrm>
            <a:off x="4162476" y="1750455"/>
            <a:ext cx="180000" cy="180000"/>
          </a:xfrm>
          <a:prstGeom prst="ellipse">
            <a:avLst/>
          </a:prstGeom>
          <a:noFill/>
          <a:ln w="28575">
            <a:solidFill>
              <a:srgbClr val="FF2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1" tIns="34286" rIns="68571" bIns="34286" anchor="ctr"/>
          <a:lstStyle/>
          <a:p>
            <a:pPr algn="ctr" defTabSz="457154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491047" y="785924"/>
            <a:ext cx="3734888" cy="2334201"/>
            <a:chOff x="7403184" y="425236"/>
            <a:chExt cx="3734888" cy="2334201"/>
          </a:xfrm>
        </p:grpSpPr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598121" y="1881025"/>
              <a:ext cx="2159959" cy="878412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06115" y="1142720"/>
              <a:ext cx="2231957" cy="829781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03184" y="1120323"/>
              <a:ext cx="1439972" cy="1011992"/>
            </a:xfrm>
            <a:prstGeom prst="rect">
              <a:avLst/>
            </a:prstGeom>
          </p:spPr>
        </p:pic>
        <p:pic>
          <p:nvPicPr>
            <p:cNvPr id="79" name="Picture 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7605" y="425236"/>
              <a:ext cx="538366" cy="800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8" name="Picture 4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10156" y="3692010"/>
            <a:ext cx="4380972" cy="1943776"/>
          </a:xfrm>
          <a:prstGeom prst="rect">
            <a:avLst/>
          </a:prstGeom>
        </p:spPr>
      </p:pic>
      <p:pic>
        <p:nvPicPr>
          <p:cNvPr id="1027" name="Billede 5" descr="logo-ny-FS (2)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861" y="3408335"/>
            <a:ext cx="1731942" cy="865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Freeform 51"/>
          <p:cNvSpPr/>
          <p:nvPr/>
        </p:nvSpPr>
        <p:spPr bwMode="auto">
          <a:xfrm>
            <a:off x="6884887" y="3230822"/>
            <a:ext cx="5203110" cy="2559037"/>
          </a:xfrm>
          <a:custGeom>
            <a:avLst/>
            <a:gdLst>
              <a:gd name="connsiteX0" fmla="*/ 1496547 w 5203110"/>
              <a:gd name="connsiteY0" fmla="*/ 354715 h 3024024"/>
              <a:gd name="connsiteX1" fmla="*/ 434365 w 5203110"/>
              <a:gd name="connsiteY1" fmla="*/ 308533 h 3024024"/>
              <a:gd name="connsiteX2" fmla="*/ 256 w 5203110"/>
              <a:gd name="connsiteY2" fmla="*/ 1065915 h 3024024"/>
              <a:gd name="connsiteX3" fmla="*/ 369711 w 5203110"/>
              <a:gd name="connsiteY3" fmla="*/ 1952606 h 3024024"/>
              <a:gd name="connsiteX4" fmla="*/ 286583 w 5203110"/>
              <a:gd name="connsiteY4" fmla="*/ 2802351 h 3024024"/>
              <a:gd name="connsiteX5" fmla="*/ 1422656 w 5203110"/>
              <a:gd name="connsiteY5" fmla="*/ 2931660 h 3024024"/>
              <a:gd name="connsiteX6" fmla="*/ 2383238 w 5203110"/>
              <a:gd name="connsiteY6" fmla="*/ 2802351 h 3024024"/>
              <a:gd name="connsiteX7" fmla="*/ 3269929 w 5203110"/>
              <a:gd name="connsiteY7" fmla="*/ 3024024 h 3024024"/>
              <a:gd name="connsiteX8" fmla="*/ 4461420 w 5203110"/>
              <a:gd name="connsiteY8" fmla="*/ 2802351 h 3024024"/>
              <a:gd name="connsiteX9" fmla="*/ 5052547 w 5203110"/>
              <a:gd name="connsiteY9" fmla="*/ 1878715 h 3024024"/>
              <a:gd name="connsiteX10" fmla="*/ 5144911 w 5203110"/>
              <a:gd name="connsiteY10" fmla="*/ 1130570 h 3024024"/>
              <a:gd name="connsiteX11" fmla="*/ 4285929 w 5203110"/>
              <a:gd name="connsiteY11" fmla="*/ 604097 h 3024024"/>
              <a:gd name="connsiteX12" fmla="*/ 3131383 w 5203110"/>
              <a:gd name="connsiteY12" fmla="*/ 3733 h 3024024"/>
              <a:gd name="connsiteX13" fmla="*/ 1496547 w 5203110"/>
              <a:gd name="connsiteY13" fmla="*/ 354715 h 3024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03110" h="3024024">
                <a:moveTo>
                  <a:pt x="1496547" y="354715"/>
                </a:moveTo>
                <a:cubicBezTo>
                  <a:pt x="1047044" y="405515"/>
                  <a:pt x="683747" y="190000"/>
                  <a:pt x="434365" y="308533"/>
                </a:cubicBezTo>
                <a:cubicBezTo>
                  <a:pt x="184983" y="427066"/>
                  <a:pt x="11032" y="791903"/>
                  <a:pt x="256" y="1065915"/>
                </a:cubicBezTo>
                <a:cubicBezTo>
                  <a:pt x="-10520" y="1339927"/>
                  <a:pt x="321990" y="1663200"/>
                  <a:pt x="369711" y="1952606"/>
                </a:cubicBezTo>
                <a:cubicBezTo>
                  <a:pt x="417432" y="2242012"/>
                  <a:pt x="111092" y="2639175"/>
                  <a:pt x="286583" y="2802351"/>
                </a:cubicBezTo>
                <a:cubicBezTo>
                  <a:pt x="462074" y="2965527"/>
                  <a:pt x="1073214" y="2931660"/>
                  <a:pt x="1422656" y="2931660"/>
                </a:cubicBezTo>
                <a:cubicBezTo>
                  <a:pt x="1772098" y="2931660"/>
                  <a:pt x="2075359" y="2786957"/>
                  <a:pt x="2383238" y="2802351"/>
                </a:cubicBezTo>
                <a:cubicBezTo>
                  <a:pt x="2691117" y="2817745"/>
                  <a:pt x="2923565" y="3024024"/>
                  <a:pt x="3269929" y="3024024"/>
                </a:cubicBezTo>
                <a:cubicBezTo>
                  <a:pt x="3616293" y="3024024"/>
                  <a:pt x="4164317" y="2993236"/>
                  <a:pt x="4461420" y="2802351"/>
                </a:cubicBezTo>
                <a:cubicBezTo>
                  <a:pt x="4758523" y="2611466"/>
                  <a:pt x="4938632" y="2157345"/>
                  <a:pt x="5052547" y="1878715"/>
                </a:cubicBezTo>
                <a:cubicBezTo>
                  <a:pt x="5166462" y="1600085"/>
                  <a:pt x="5272681" y="1343006"/>
                  <a:pt x="5144911" y="1130570"/>
                </a:cubicBezTo>
                <a:cubicBezTo>
                  <a:pt x="5017141" y="918134"/>
                  <a:pt x="4621517" y="791903"/>
                  <a:pt x="4285929" y="604097"/>
                </a:cubicBezTo>
                <a:cubicBezTo>
                  <a:pt x="3950341" y="416291"/>
                  <a:pt x="3593201" y="46836"/>
                  <a:pt x="3131383" y="3733"/>
                </a:cubicBezTo>
                <a:cubicBezTo>
                  <a:pt x="2669565" y="-39370"/>
                  <a:pt x="1946050" y="303915"/>
                  <a:pt x="1496547" y="354715"/>
                </a:cubicBezTo>
                <a:close/>
              </a:path>
            </a:pathLst>
          </a:custGeom>
          <a:solidFill>
            <a:srgbClr val="FFB899">
              <a:alpha val="10000"/>
            </a:srgbClr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</a:pPr>
            <a:endParaRPr lang="de-CH" sz="1600" dirty="0" err="1">
              <a:solidFill>
                <a:srgbClr val="FFFFFF"/>
              </a:solidFill>
              <a:ea typeface="ＭＳ Ｐゴシック" pitchFamily="-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9528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149506" y="1393797"/>
            <a:ext cx="2930920" cy="237883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Økonomiske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kriterier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  <a:p>
            <a:pPr marL="198000" indent="-198000" eaLnBrk="0" hangingPunct="0">
              <a:spcBef>
                <a:spcPct val="0"/>
              </a:spcBef>
              <a:buSzPct val="120000"/>
              <a:buFont typeface="Arial" panose="020B0604020202020204" pitchFamily="34" charset="0"/>
              <a:buChar char="•"/>
              <a:defRPr/>
            </a:pPr>
            <a:r>
              <a:rPr lang="da-DK" kern="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Livscyklusomkostninger, indtægter og andre potentielle værdier såsom innovationsværdi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>
                <a:cs typeface="Calibri" pitchFamily="34" charset="0"/>
              </a:rPr>
              <a:t>A Sustainability Framework for Water Resource Recovery Facilities</a:t>
            </a:r>
            <a:endParaRPr lang="en-US" sz="24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A0A77DE-82E8-48D9-ADF6-C137D77CAA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8" t="3994" r="2477" b="3994"/>
          <a:stretch/>
        </p:blipFill>
        <p:spPr>
          <a:xfrm>
            <a:off x="3159823" y="1058777"/>
            <a:ext cx="5761741" cy="5760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8995993" y="4047885"/>
            <a:ext cx="2951590" cy="2520000"/>
          </a:xfrm>
          <a:prstGeom prst="rect">
            <a:avLst/>
          </a:prstGeom>
          <a:solidFill>
            <a:srgbClr val="FF9900">
              <a:alpha val="20000"/>
            </a:srgbClr>
          </a:solidFill>
          <a:ln w="12700" cap="flat" cmpd="sng" algn="ctr">
            <a:solidFill>
              <a:srgbClr val="FF99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Tekniske</a:t>
            </a:r>
            <a:r>
              <a:rPr lang="en-US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kriterier</a:t>
            </a:r>
            <a:endParaRPr lang="en-US" b="1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  <a:p>
            <a:pPr marL="285750" indent="-285750" algn="r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Fremhæv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den </a:t>
            </a:r>
            <a:r>
              <a:rPr lang="en-US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langsigtede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reliability</a:t>
            </a: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a-DK" b="1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</a:t>
            </a:r>
          </a:p>
          <a:p>
            <a:pPr marL="4079138" lvl="8" indent="-360000" algn="r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8986261" y="1252635"/>
            <a:ext cx="2900397" cy="2520000"/>
          </a:xfrm>
          <a:prstGeom prst="rect">
            <a:avLst/>
          </a:prstGeom>
          <a:solidFill>
            <a:srgbClr val="FFC000">
              <a:alpha val="20000"/>
            </a:srgbClr>
          </a:solidFill>
          <a:ln w="12700" cap="flat" cmpd="sng" algn="ctr">
            <a:solidFill>
              <a:srgbClr val="FFC000">
                <a:alpha val="95000"/>
              </a:srgb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a-DK" b="1" dirty="0">
                <a:solidFill>
                  <a:prstClr val="black"/>
                </a:solidFill>
                <a:latin typeface="Calibri" panose="020F0502020204030204"/>
              </a:rPr>
              <a:t>Samfundsmæssige kriterier</a:t>
            </a:r>
            <a:endParaRPr lang="en-US" b="1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  <a:p>
            <a:pPr marL="285750" indent="-285750" algn="r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Vurder f.eks. sikkerheden, antallet af nye job</a:t>
            </a: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00" b="1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 bwMode="auto">
          <a:xfrm>
            <a:off x="149506" y="3976145"/>
            <a:ext cx="2930920" cy="2506347"/>
          </a:xfrm>
          <a:prstGeom prst="rect">
            <a:avLst/>
          </a:prstGeom>
          <a:solidFill>
            <a:srgbClr val="92D050">
              <a:alpha val="20000"/>
            </a:srgbClr>
          </a:solidFill>
          <a:ln w="12700" cap="flat" cmpd="sng" algn="ctr">
            <a:solidFill>
              <a:srgbClr val="92D05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Miljø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kriterier</a:t>
            </a:r>
            <a:endParaRPr kumimoji="0" lang="en-US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hangingPunct="0">
              <a:spcBef>
                <a:spcPct val="0"/>
              </a:spcBef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  <a:r>
              <a:rPr kumimoji="0" 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ksempel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 CO2-fodaftryk </a:t>
            </a:r>
            <a:r>
              <a:rPr kumimoji="0" 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t </a:t>
            </a:r>
            <a:r>
              <a:rPr kumimoji="0" 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ivscyklusperspektiv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LCA)</a:t>
            </a:r>
          </a:p>
          <a:p>
            <a:pPr marL="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944" y="5269294"/>
            <a:ext cx="1242224" cy="124222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4825" y="2586521"/>
            <a:ext cx="1255600" cy="12556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206" y="2632804"/>
            <a:ext cx="1061832" cy="106183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207" y="4983839"/>
            <a:ext cx="1387075" cy="138707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endParaRPr lang="en-GB" dirty="0">
              <a:noFill/>
              <a:latin typeface="Arial"/>
              <a:ea typeface="ＭＳ Ｐゴシック" pitchFamily="-80" charset="-128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25B9FDD-ECB5-40F6-8814-0723397BA127}"/>
              </a:ext>
            </a:extLst>
          </p:cNvPr>
          <p:cNvCxnSpPr/>
          <p:nvPr/>
        </p:nvCxnSpPr>
        <p:spPr>
          <a:xfrm>
            <a:off x="3080425" y="2009770"/>
            <a:ext cx="86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0FDFC4B-4E22-4734-A06C-545577832DBF}"/>
              </a:ext>
            </a:extLst>
          </p:cNvPr>
          <p:cNvCxnSpPr>
            <a:cxnSpLocks/>
          </p:cNvCxnSpPr>
          <p:nvPr/>
        </p:nvCxnSpPr>
        <p:spPr>
          <a:xfrm>
            <a:off x="3080426" y="5450731"/>
            <a:ext cx="576000" cy="0"/>
          </a:xfrm>
          <a:prstGeom prst="line">
            <a:avLst/>
          </a:prstGeom>
          <a:ln w="28575">
            <a:solidFill>
              <a:srgbClr val="ADD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077A849-AD63-4A05-835A-F0AB8DE898E5}"/>
              </a:ext>
            </a:extLst>
          </p:cNvPr>
          <p:cNvCxnSpPr>
            <a:cxnSpLocks/>
          </p:cNvCxnSpPr>
          <p:nvPr/>
        </p:nvCxnSpPr>
        <p:spPr>
          <a:xfrm>
            <a:off x="8399852" y="5450731"/>
            <a:ext cx="576000" cy="0"/>
          </a:xfrm>
          <a:prstGeom prst="line">
            <a:avLst/>
          </a:prstGeom>
          <a:ln w="28575">
            <a:solidFill>
              <a:srgbClr val="FF88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920341E-4A3D-4073-91FB-BD44415AB96B}"/>
              </a:ext>
            </a:extLst>
          </p:cNvPr>
          <p:cNvCxnSpPr/>
          <p:nvPr/>
        </p:nvCxnSpPr>
        <p:spPr>
          <a:xfrm>
            <a:off x="8095928" y="2009770"/>
            <a:ext cx="864000" cy="0"/>
          </a:xfrm>
          <a:prstGeom prst="line">
            <a:avLst/>
          </a:prstGeom>
          <a:ln w="28575">
            <a:solidFill>
              <a:srgbClr val="FFE6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8DB2C07F-FA0E-4BCF-87AC-64B9AF9A8D6D}"/>
              </a:ext>
            </a:extLst>
          </p:cNvPr>
          <p:cNvSpPr/>
          <p:nvPr/>
        </p:nvSpPr>
        <p:spPr>
          <a:xfrm>
            <a:off x="5032397" y="2973399"/>
            <a:ext cx="1959768" cy="193750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1600" b="1" dirty="0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C3DF5D1-358D-41CC-BA15-4F9A76560749}"/>
              </a:ext>
            </a:extLst>
          </p:cNvPr>
          <p:cNvSpPr/>
          <p:nvPr/>
        </p:nvSpPr>
        <p:spPr>
          <a:xfrm>
            <a:off x="4801716" y="2970025"/>
            <a:ext cx="2513484" cy="193750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STAINABILITY CRITERIA</a:t>
            </a:r>
          </a:p>
        </p:txBody>
      </p:sp>
    </p:spTree>
    <p:extLst>
      <p:ext uri="{BB962C8B-B14F-4D97-AF65-F5344CB8AC3E}">
        <p14:creationId xmlns:p14="http://schemas.microsoft.com/office/powerpoint/2010/main" val="14935768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ra et framework til et Excel værktøj: ME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endParaRPr lang="en-GB" dirty="0">
              <a:noFill/>
              <a:latin typeface="Arial"/>
              <a:ea typeface="ＭＳ Ｐゴシック" pitchFamily="-80" charset="-128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2104" y="3354150"/>
            <a:ext cx="3107436" cy="2122279"/>
          </a:xfrm>
          <a:prstGeom prst="rect">
            <a:avLst/>
          </a:prstGeom>
        </p:spPr>
      </p:pic>
      <p:cxnSp>
        <p:nvCxnSpPr>
          <p:cNvPr id="40" name="Straight Arrow Connector 39"/>
          <p:cNvCxnSpPr/>
          <p:nvPr/>
        </p:nvCxnSpPr>
        <p:spPr bwMode="auto">
          <a:xfrm>
            <a:off x="5375920" y="4352704"/>
            <a:ext cx="131476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1" name="Group 40"/>
          <p:cNvGrpSpPr/>
          <p:nvPr/>
        </p:nvGrpSpPr>
        <p:grpSpPr>
          <a:xfrm>
            <a:off x="7130931" y="1685920"/>
            <a:ext cx="1368000" cy="1274133"/>
            <a:chOff x="8471470" y="1938843"/>
            <a:chExt cx="1368000" cy="1274133"/>
          </a:xfrm>
        </p:grpSpPr>
        <p:sp>
          <p:nvSpPr>
            <p:cNvPr id="42" name="Rectangle 41"/>
            <p:cNvSpPr/>
            <p:nvPr/>
          </p:nvSpPr>
          <p:spPr bwMode="auto">
            <a:xfrm>
              <a:off x="8766526" y="2420888"/>
              <a:ext cx="286477" cy="79208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rgbClr val="00873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432"/>
                </a:spcBef>
                <a:spcAft>
                  <a:spcPct val="0"/>
                </a:spcAft>
                <a:defRPr/>
              </a:pPr>
              <a:endParaRPr lang="de-CH" sz="1600" dirty="0" err="1">
                <a:solidFill>
                  <a:srgbClr val="FFFFFF"/>
                </a:solidFill>
                <a:latin typeface="Arial"/>
                <a:ea typeface="ＭＳ Ｐゴシック" pitchFamily="-80" charset="-128"/>
              </a:endParaRP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9047534" y="2582017"/>
              <a:ext cx="288032" cy="63095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solidFill>
                <a:srgbClr val="00873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432"/>
                </a:spcBef>
                <a:spcAft>
                  <a:spcPct val="0"/>
                </a:spcAft>
                <a:defRPr/>
              </a:pPr>
              <a:endParaRPr lang="de-CH" sz="1600" dirty="0" err="1">
                <a:solidFill>
                  <a:srgbClr val="FFFFFF"/>
                </a:solidFill>
                <a:latin typeface="Arial"/>
                <a:ea typeface="ＭＳ Ｐゴシック" pitchFamily="-80" charset="-128"/>
              </a:endParaRP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9335566" y="2276976"/>
              <a:ext cx="288032" cy="936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solidFill>
                <a:srgbClr val="00873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432"/>
                </a:spcBef>
                <a:spcAft>
                  <a:spcPct val="0"/>
                </a:spcAft>
                <a:defRPr/>
              </a:pPr>
              <a:endParaRPr lang="de-CH" sz="1600" dirty="0" err="1">
                <a:solidFill>
                  <a:srgbClr val="FFFFFF"/>
                </a:solidFill>
                <a:latin typeface="Arial"/>
                <a:ea typeface="ＭＳ Ｐゴシック" pitchFamily="-80" charset="-128"/>
              </a:endParaRPr>
            </a:p>
          </p:txBody>
        </p:sp>
        <p:sp>
          <p:nvSpPr>
            <p:cNvPr id="45" name="Rectangle 44"/>
            <p:cNvSpPr/>
            <p:nvPr/>
          </p:nvSpPr>
          <p:spPr bwMode="auto">
            <a:xfrm>
              <a:off x="8471470" y="2276976"/>
              <a:ext cx="288032" cy="936000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9525" cap="flat" cmpd="sng" algn="ctr">
              <a:solidFill>
                <a:srgbClr val="008737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432"/>
                </a:spcBef>
                <a:spcAft>
                  <a:spcPct val="0"/>
                </a:spcAft>
                <a:defRPr/>
              </a:pPr>
              <a:endParaRPr lang="de-CH" sz="1600" dirty="0" err="1">
                <a:solidFill>
                  <a:srgbClr val="FFFFFF"/>
                </a:solidFill>
                <a:latin typeface="Arial"/>
                <a:ea typeface="ＭＳ Ｐゴシック" pitchFamily="-80" charset="-128"/>
              </a:endParaRPr>
            </a:p>
          </p:txBody>
        </p:sp>
        <p:cxnSp>
          <p:nvCxnSpPr>
            <p:cNvPr id="46" name="Straight Arrow Connector 45"/>
            <p:cNvCxnSpPr/>
            <p:nvPr/>
          </p:nvCxnSpPr>
          <p:spPr bwMode="auto">
            <a:xfrm>
              <a:off x="8471470" y="3212976"/>
              <a:ext cx="136800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Straight Arrow Connector 46"/>
            <p:cNvCxnSpPr/>
            <p:nvPr/>
          </p:nvCxnSpPr>
          <p:spPr bwMode="auto">
            <a:xfrm rot="16200000">
              <a:off x="7841470" y="2568843"/>
              <a:ext cx="126000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8" name="Group 47"/>
          <p:cNvGrpSpPr/>
          <p:nvPr/>
        </p:nvGrpSpPr>
        <p:grpSpPr>
          <a:xfrm>
            <a:off x="8771540" y="1685920"/>
            <a:ext cx="1368000" cy="1274133"/>
            <a:chOff x="8471470" y="1938843"/>
            <a:chExt cx="1368000" cy="1274133"/>
          </a:xfrm>
        </p:grpSpPr>
        <p:cxnSp>
          <p:nvCxnSpPr>
            <p:cNvPr id="49" name="Straight Arrow Connector 48"/>
            <p:cNvCxnSpPr/>
            <p:nvPr/>
          </p:nvCxnSpPr>
          <p:spPr bwMode="auto">
            <a:xfrm>
              <a:off x="8471470" y="3212976"/>
              <a:ext cx="136800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Straight Arrow Connector 49"/>
            <p:cNvCxnSpPr/>
            <p:nvPr/>
          </p:nvCxnSpPr>
          <p:spPr bwMode="auto">
            <a:xfrm rot="16200000">
              <a:off x="7841470" y="2568843"/>
              <a:ext cx="126000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1" name="Rectangle 50"/>
          <p:cNvSpPr/>
          <p:nvPr/>
        </p:nvSpPr>
        <p:spPr bwMode="auto">
          <a:xfrm>
            <a:off x="8883011" y="1578587"/>
            <a:ext cx="1247478" cy="25548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873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a-DK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kg CO</a:t>
            </a:r>
            <a:r>
              <a:rPr lang="da-DK" sz="1400" baseline="-25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2-eq</a:t>
            </a:r>
            <a:endParaRPr lang="de-CH" sz="1400" baseline="-25000" dirty="0" err="1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8883283" y="1822395"/>
            <a:ext cx="1247478" cy="2362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873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a-DK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$/</a:t>
            </a:r>
            <a:r>
              <a:rPr lang="da-DK" sz="14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year</a:t>
            </a:r>
            <a:endParaRPr lang="de-CH" sz="1400" dirty="0" err="1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969617" y="3973897"/>
            <a:ext cx="22570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e-CH" b="1" dirty="0" err="1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Operationalt</a:t>
            </a:r>
            <a:r>
              <a:rPr lang="de-CH" b="1" dirty="0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 </a:t>
            </a:r>
            <a:r>
              <a:rPr lang="de-CH" b="1" dirty="0" err="1">
                <a:solidFill>
                  <a:srgbClr val="000000"/>
                </a:solidFill>
                <a:latin typeface="Arial"/>
                <a:ea typeface="ＭＳ Ｐゴシック" pitchFamily="-80" charset="-128"/>
              </a:rPr>
              <a:t>værktøj</a:t>
            </a:r>
            <a:endParaRPr lang="de-CH" b="1" dirty="0">
              <a:solidFill>
                <a:srgbClr val="000000"/>
              </a:solidFill>
              <a:latin typeface="Arial"/>
              <a:ea typeface="ＭＳ Ｐゴシック" pitchFamily="-80" charset="-128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8878829" y="2277868"/>
            <a:ext cx="1247478" cy="2362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873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a-DK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...</a:t>
            </a:r>
            <a:endParaRPr lang="de-CH" sz="1400" dirty="0" err="1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cxnSp>
        <p:nvCxnSpPr>
          <p:cNvPr id="55" name="Straight Arrow Connector 54"/>
          <p:cNvCxnSpPr/>
          <p:nvPr/>
        </p:nvCxnSpPr>
        <p:spPr bwMode="auto">
          <a:xfrm flipH="1" flipV="1">
            <a:off x="7701527" y="2797753"/>
            <a:ext cx="405229" cy="50405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Arrow Connector 55"/>
          <p:cNvCxnSpPr/>
          <p:nvPr/>
        </p:nvCxnSpPr>
        <p:spPr bwMode="auto">
          <a:xfrm flipV="1">
            <a:off x="9135558" y="2829237"/>
            <a:ext cx="423663" cy="5844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97" y="1556792"/>
            <a:ext cx="5223770" cy="4462082"/>
          </a:xfrm>
          <a:prstGeom prst="rect">
            <a:avLst/>
          </a:prstGeom>
        </p:spPr>
      </p:pic>
      <p:sp>
        <p:nvSpPr>
          <p:cNvPr id="58" name="Rectangle 57"/>
          <p:cNvSpPr/>
          <p:nvPr/>
        </p:nvSpPr>
        <p:spPr bwMode="auto">
          <a:xfrm>
            <a:off x="8883011" y="2056566"/>
            <a:ext cx="1247478" cy="2362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8737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e-CH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# </a:t>
            </a:r>
            <a:r>
              <a:rPr lang="de-CH" sz="14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of</a:t>
            </a:r>
            <a:r>
              <a:rPr lang="de-CH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</a:t>
            </a:r>
            <a:r>
              <a:rPr lang="de-CH" sz="14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new</a:t>
            </a:r>
            <a:r>
              <a:rPr lang="de-CH" sz="14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 </a:t>
            </a:r>
            <a:r>
              <a:rPr lang="de-CH" sz="1400" dirty="0" err="1">
                <a:solidFill>
                  <a:srgbClr val="000000"/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jobs</a:t>
            </a:r>
            <a:endParaRPr lang="de-CH" sz="1400" dirty="0">
              <a:solidFill>
                <a:srgbClr val="000000"/>
              </a:solidFill>
              <a:latin typeface="Calibri" panose="020F0502020204030204" pitchFamily="34" charset="0"/>
              <a:ea typeface="ＭＳ Ｐゴシック" pitchFamily="-80" charset="-128"/>
              <a:cs typeface="Calibri" panose="020F050202020403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4048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n første udgave af MERM værktøjet der kommer til at  være frit tilgængelig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endParaRPr lang="en-GB" dirty="0">
              <a:noFill/>
              <a:latin typeface="Arial"/>
              <a:ea typeface="ＭＳ Ｐゴシック" pitchFamily="-80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080" y="4028820"/>
            <a:ext cx="293776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432"/>
              </a:spcBef>
              <a:spcAft>
                <a:spcPct val="0"/>
              </a:spcAft>
              <a:defRPr/>
            </a:pPr>
            <a:r>
              <a:rPr lang="da-DK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Faragó et al. (2022, </a:t>
            </a:r>
            <a:r>
              <a:rPr lang="da-DK" sz="1600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unpublished</a:t>
            </a:r>
            <a:r>
              <a:rPr lang="da-DK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 pitchFamily="34" charset="0"/>
                <a:ea typeface="ＭＳ Ｐゴシック" pitchFamily="-80" charset="-128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-1" b="44901"/>
          <a:stretch/>
        </p:blipFill>
        <p:spPr>
          <a:xfrm>
            <a:off x="80080" y="1657837"/>
            <a:ext cx="11859765" cy="222183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4" name="Group 23"/>
          <p:cNvGrpSpPr/>
          <p:nvPr/>
        </p:nvGrpSpPr>
        <p:grpSpPr>
          <a:xfrm>
            <a:off x="2423592" y="1772816"/>
            <a:ext cx="8352928" cy="864096"/>
            <a:chOff x="2422798" y="1772816"/>
            <a:chExt cx="8352928" cy="864096"/>
          </a:xfrm>
        </p:grpSpPr>
        <p:cxnSp>
          <p:nvCxnSpPr>
            <p:cNvPr id="7" name="Straight Arrow Connector 6"/>
            <p:cNvCxnSpPr>
              <a:stCxn id="3" idx="1"/>
            </p:cNvCxnSpPr>
            <p:nvPr/>
          </p:nvCxnSpPr>
          <p:spPr bwMode="auto">
            <a:xfrm flipH="1" flipV="1">
              <a:off x="2422798" y="1902313"/>
              <a:ext cx="1656184" cy="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Straight Arrow Connector 9"/>
            <p:cNvCxnSpPr/>
            <p:nvPr/>
          </p:nvCxnSpPr>
          <p:spPr bwMode="auto">
            <a:xfrm flipH="1">
              <a:off x="4511030" y="2031811"/>
              <a:ext cx="216024" cy="60510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Arrow Connector 12"/>
            <p:cNvCxnSpPr/>
            <p:nvPr/>
          </p:nvCxnSpPr>
          <p:spPr bwMode="auto">
            <a:xfrm>
              <a:off x="5447134" y="2031811"/>
              <a:ext cx="1008112" cy="533093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Arrow Connector 14"/>
            <p:cNvCxnSpPr/>
            <p:nvPr/>
          </p:nvCxnSpPr>
          <p:spPr bwMode="auto">
            <a:xfrm>
              <a:off x="5735166" y="2031811"/>
              <a:ext cx="2597886" cy="533093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Arrow Connector 18"/>
            <p:cNvCxnSpPr>
              <a:stCxn id="3" idx="3"/>
            </p:cNvCxnSpPr>
            <p:nvPr/>
          </p:nvCxnSpPr>
          <p:spPr bwMode="auto">
            <a:xfrm>
              <a:off x="5735166" y="1902314"/>
              <a:ext cx="5040560" cy="66259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" name="Rectangle 2"/>
            <p:cNvSpPr/>
            <p:nvPr/>
          </p:nvSpPr>
          <p:spPr bwMode="auto">
            <a:xfrm>
              <a:off x="4078982" y="1772816"/>
              <a:ext cx="1656184" cy="258995"/>
            </a:xfrm>
            <a:prstGeom prst="rect">
              <a:avLst/>
            </a:prstGeom>
            <a:solidFill>
              <a:srgbClr val="CCECFF"/>
            </a:solidFill>
            <a:ln w="9525" cap="flat" cmpd="sng" algn="ctr">
              <a:solidFill>
                <a:srgbClr val="FF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432"/>
                </a:spcBef>
                <a:spcAft>
                  <a:spcPct val="0"/>
                </a:spcAft>
                <a:defRPr/>
              </a:pPr>
              <a:r>
                <a:rPr lang="da-DK" sz="2000" dirty="0">
                  <a:solidFill>
                    <a:srgbClr val="000000"/>
                  </a:solidFill>
                  <a:latin typeface="Arial"/>
                  <a:ea typeface="ＭＳ Ｐゴシック" pitchFamily="-80" charset="-128"/>
                </a:rPr>
                <a:t>User input</a:t>
              </a:r>
              <a:endParaRPr lang="en-US" sz="2000" dirty="0" err="1">
                <a:solidFill>
                  <a:srgbClr val="000000"/>
                </a:solidFill>
                <a:latin typeface="Arial"/>
                <a:ea typeface="ＭＳ Ｐゴシック" pitchFamily="-80" charset="-128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3EA872-A674-449B-A120-B97244F8E91D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E7FC23-8FE1-445E-A674-A99A51902F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4688" y="4204489"/>
            <a:ext cx="5879976" cy="2008012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1F8B1DA-E483-4082-AFC6-281407A14D5B}"/>
              </a:ext>
            </a:extLst>
          </p:cNvPr>
          <p:cNvCxnSpPr>
            <a:cxnSpLocks/>
          </p:cNvCxnSpPr>
          <p:nvPr/>
        </p:nvCxnSpPr>
        <p:spPr>
          <a:xfrm rot="10800000" flipV="1">
            <a:off x="9874664" y="3912532"/>
            <a:ext cx="1161657" cy="1129545"/>
          </a:xfrm>
          <a:prstGeom prst="bentConnector3">
            <a:avLst>
              <a:gd name="adj1" fmla="val -1786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6CE6FF5C-5167-45D8-AC73-A1CC62688769}"/>
              </a:ext>
            </a:extLst>
          </p:cNvPr>
          <p:cNvCxnSpPr>
            <a:cxnSpLocks/>
          </p:cNvCxnSpPr>
          <p:nvPr/>
        </p:nvCxnSpPr>
        <p:spPr>
          <a:xfrm rot="16200000" flipH="1">
            <a:off x="3028705" y="4105244"/>
            <a:ext cx="1129546" cy="802419"/>
          </a:xfrm>
          <a:prstGeom prst="bentConnector3">
            <a:avLst>
              <a:gd name="adj1" fmla="val 99728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619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5E7E87-DF63-4717-99E2-EB4C708D18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2400" dirty="0"/>
              <a:t>Et </a:t>
            </a:r>
            <a:r>
              <a:rPr lang="da-DK" sz="2400" b="1" dirty="0"/>
              <a:t>fælles og standard metodegrundlag </a:t>
            </a:r>
            <a:r>
              <a:rPr lang="da-DK" sz="2400" dirty="0"/>
              <a:t>og et </a:t>
            </a:r>
            <a:r>
              <a:rPr lang="da-DK" sz="2400" b="1" dirty="0"/>
              <a:t>brancheværktøj</a:t>
            </a:r>
            <a:r>
              <a:rPr lang="da-DK" sz="2400" dirty="0"/>
              <a:t> til at vurdere LCA/klimaopgørelser af teknologiløsninger og eksisterende anlæg</a:t>
            </a:r>
          </a:p>
          <a:p>
            <a:pPr marL="0" indent="0">
              <a:buNone/>
            </a:pPr>
            <a:r>
              <a:rPr lang="da-DK" sz="2400" dirty="0"/>
              <a:t> </a:t>
            </a:r>
          </a:p>
          <a:p>
            <a:r>
              <a:rPr lang="da-DK" sz="2400" dirty="0"/>
              <a:t>Skabe </a:t>
            </a:r>
            <a:r>
              <a:rPr lang="da-DK" sz="2400" b="1" dirty="0"/>
              <a:t>klare rammerne </a:t>
            </a:r>
            <a:r>
              <a:rPr lang="da-DK" sz="2400" dirty="0"/>
              <a:t>for, hvilke</a:t>
            </a:r>
            <a:r>
              <a:rPr lang="da-DK" sz="2400" b="1" dirty="0"/>
              <a:t> bæredygtighedsindikatorer </a:t>
            </a:r>
            <a:r>
              <a:rPr lang="da-DK" sz="2400" dirty="0"/>
              <a:t>og kriterier, der er relevant at vurdere, når man skal træffe en beslutning mellem forskellige løsninger. </a:t>
            </a:r>
          </a:p>
          <a:p>
            <a:endParaRPr lang="da-DK" sz="2400" dirty="0"/>
          </a:p>
          <a:p>
            <a:pPr marL="0" indent="0">
              <a:buNone/>
            </a:pPr>
            <a:endParaRPr lang="da-DK" sz="2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AFE643-31EB-459C-9BEB-82B6C20CBF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mangler branchen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48A556-3EE2-46BC-8DD3-93D6DDB34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5897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2FD745-AF28-43FC-B6B2-BEC30202EB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dirty="0"/>
          </a:p>
          <a:p>
            <a:pPr marL="0" indent="0">
              <a:buNone/>
            </a:pPr>
            <a:endParaRPr lang="da-DK" sz="2400" b="1" dirty="0"/>
          </a:p>
          <a:p>
            <a:pPr marL="0" indent="0">
              <a:buNone/>
            </a:pPr>
            <a:r>
              <a:rPr lang="da-DK" sz="2000" b="1" dirty="0"/>
              <a:t>Udbytte:</a:t>
            </a:r>
          </a:p>
          <a:p>
            <a:pPr lvl="1"/>
            <a:r>
              <a:rPr lang="da-DK" sz="2000" dirty="0"/>
              <a:t>Med et </a:t>
            </a:r>
            <a:r>
              <a:rPr lang="da-DK" sz="2000" b="1" dirty="0"/>
              <a:t>fælles og standard metodegrundlag/brancheværktøj </a:t>
            </a:r>
            <a:r>
              <a:rPr lang="da-DK" sz="2000" dirty="0"/>
              <a:t>bliver det også nemmere at </a:t>
            </a:r>
            <a:r>
              <a:rPr lang="da-DK" sz="2000" b="1" dirty="0"/>
              <a:t>sammenligne miljø- og </a:t>
            </a:r>
            <a:r>
              <a:rPr lang="da-DK" sz="2000" b="1" dirty="0" err="1"/>
              <a:t>bæredygtighedvurderinger</a:t>
            </a:r>
            <a:r>
              <a:rPr lang="da-DK" sz="2000" b="1" dirty="0"/>
              <a:t> på tværs af projekter og forsyninger </a:t>
            </a:r>
          </a:p>
          <a:p>
            <a:pPr lvl="1"/>
            <a:endParaRPr lang="da-DK" sz="2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A74AA7-5C0E-41EA-ADF3-7670AF8A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kræver de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391DBA-7505-427C-A8E0-164913FBF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CF342E-63DE-4296-88BE-C6D1F91418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241" y="2141544"/>
            <a:ext cx="1255600" cy="1255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FBDF73-23B2-4731-9E07-7A0390261E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2389" y="1603672"/>
            <a:ext cx="1776547" cy="17765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79AAA32-9CBE-4A83-AE53-E060318191B3}"/>
              </a:ext>
            </a:extLst>
          </p:cNvPr>
          <p:cNvSpPr txBox="1"/>
          <p:nvPr/>
        </p:nvSpPr>
        <p:spPr>
          <a:xfrm>
            <a:off x="2525180" y="3477782"/>
            <a:ext cx="22909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a-DK" sz="1800" dirty="0"/>
              <a:t>At vandbranchen går samm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7EA901-ABD2-46FB-BF4F-812B07A4CAC6}"/>
              </a:ext>
            </a:extLst>
          </p:cNvPr>
          <p:cNvSpPr txBox="1"/>
          <p:nvPr/>
        </p:nvSpPr>
        <p:spPr>
          <a:xfrm>
            <a:off x="7877430" y="1691754"/>
            <a:ext cx="440018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b="1" dirty="0"/>
              <a:t>Investeringer</a:t>
            </a:r>
            <a:r>
              <a:rPr lang="da-DK" sz="2000" dirty="0"/>
              <a:t> for at skabe en </a:t>
            </a:r>
            <a:r>
              <a:rPr lang="da-DK" sz="2000" b="1" dirty="0"/>
              <a:t>ekspert grup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b="1" dirty="0"/>
              <a:t>Planlagte reinvesteringer </a:t>
            </a:r>
            <a:r>
              <a:rPr lang="da-DK" sz="2000" dirty="0"/>
              <a:t>for at udføre </a:t>
            </a:r>
            <a:r>
              <a:rPr lang="da-DK" sz="2000" b="1" dirty="0"/>
              <a:t>opdateringer </a:t>
            </a:r>
            <a:r>
              <a:rPr lang="da-DK" sz="2000" dirty="0"/>
              <a:t>af branchen fælles vejledninger, metodegrundlag og værktøjer</a:t>
            </a:r>
          </a:p>
        </p:txBody>
      </p:sp>
    </p:spTree>
    <p:extLst>
      <p:ext uri="{BB962C8B-B14F-4D97-AF65-F5344CB8AC3E}">
        <p14:creationId xmlns:p14="http://schemas.microsoft.com/office/powerpoint/2010/main" val="9446242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C3679-E9C5-459D-AFF3-79648CE56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em har bolden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AEB4E02-DB36-42EA-A8BB-415BAC7B09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3906908" y="2390105"/>
            <a:ext cx="3846909" cy="25666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3607E-7A02-480F-B439-31CA14320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981D47A-CB27-4901-90D3-850309FDA637}"/>
              </a:ext>
            </a:extLst>
          </p:cNvPr>
          <p:cNvSpPr/>
          <p:nvPr/>
        </p:nvSpPr>
        <p:spPr>
          <a:xfrm>
            <a:off x="69863" y="5523210"/>
            <a:ext cx="12052274" cy="12260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2000" dirty="0">
                <a:solidFill>
                  <a:schemeClr val="tx1"/>
                </a:solidFill>
              </a:rPr>
              <a:t>Vi konkurrer mod hinanden om hvem der har det bedste værktøj, men </a:t>
            </a:r>
            <a:r>
              <a:rPr lang="da-DK" sz="2000" b="1" dirty="0">
                <a:solidFill>
                  <a:schemeClr val="tx1"/>
                </a:solidFill>
              </a:rPr>
              <a:t>det bedste værktøj </a:t>
            </a:r>
            <a:r>
              <a:rPr lang="da-DK" sz="2000" dirty="0">
                <a:solidFill>
                  <a:schemeClr val="tx1"/>
                </a:solidFill>
              </a:rPr>
              <a:t>for at vurdere vores løsninger </a:t>
            </a:r>
            <a:r>
              <a:rPr lang="da-DK" sz="2000" b="1" dirty="0">
                <a:solidFill>
                  <a:schemeClr val="tx1"/>
                </a:solidFill>
              </a:rPr>
              <a:t>er det som er skabt i samarbejde</a:t>
            </a:r>
            <a:r>
              <a:rPr lang="da-DK" sz="20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434FCFE-1233-4C3B-B57A-DAE39388E0AC}"/>
              </a:ext>
            </a:extLst>
          </p:cNvPr>
          <p:cNvSpPr/>
          <p:nvPr/>
        </p:nvSpPr>
        <p:spPr>
          <a:xfrm rot="21067859">
            <a:off x="764184" y="1623342"/>
            <a:ext cx="3357711" cy="145622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2000" dirty="0"/>
              <a:t>Vandforsyninger og DANV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6C72BFB-F9C1-4A09-904F-7D69C39EE467}"/>
              </a:ext>
            </a:extLst>
          </p:cNvPr>
          <p:cNvSpPr/>
          <p:nvPr/>
        </p:nvSpPr>
        <p:spPr>
          <a:xfrm>
            <a:off x="4104583" y="645484"/>
            <a:ext cx="3357711" cy="1456222"/>
          </a:xfrm>
          <a:prstGeom prst="ellipse">
            <a:avLst/>
          </a:prstGeom>
          <a:solidFill>
            <a:srgbClr val="66C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2000" dirty="0"/>
              <a:t>Rådgiver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6843BDA-4DC3-4C7E-843C-2A0F66D0669D}"/>
              </a:ext>
            </a:extLst>
          </p:cNvPr>
          <p:cNvSpPr/>
          <p:nvPr/>
        </p:nvSpPr>
        <p:spPr>
          <a:xfrm rot="21105150">
            <a:off x="40654" y="3663418"/>
            <a:ext cx="4056865" cy="1456222"/>
          </a:xfrm>
          <a:prstGeom prst="ellipse">
            <a:avLst/>
          </a:prstGeom>
          <a:solidFill>
            <a:srgbClr val="6984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/>
              <a:t>Teknologileverandør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B920831-9E23-46C7-836D-75D99E276C81}"/>
              </a:ext>
            </a:extLst>
          </p:cNvPr>
          <p:cNvSpPr/>
          <p:nvPr/>
        </p:nvSpPr>
        <p:spPr>
          <a:xfrm rot="998031">
            <a:off x="7966651" y="3708918"/>
            <a:ext cx="4051147" cy="1456222"/>
          </a:xfrm>
          <a:prstGeom prst="ellipse">
            <a:avLst/>
          </a:prstGeom>
          <a:solidFill>
            <a:srgbClr val="719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/>
              <a:t>Komponentproducent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F03083A-26BA-4C29-82F3-BD658EA465BA}"/>
              </a:ext>
            </a:extLst>
          </p:cNvPr>
          <p:cNvSpPr/>
          <p:nvPr/>
        </p:nvSpPr>
        <p:spPr>
          <a:xfrm rot="564524">
            <a:off x="7534570" y="1479772"/>
            <a:ext cx="3357711" cy="1456222"/>
          </a:xfrm>
          <a:prstGeom prst="ellipse">
            <a:avLst/>
          </a:prstGeom>
          <a:solidFill>
            <a:srgbClr val="A17F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dirty="0"/>
              <a:t>Viden institutioner</a:t>
            </a:r>
          </a:p>
        </p:txBody>
      </p:sp>
    </p:spTree>
    <p:extLst>
      <p:ext uri="{BB962C8B-B14F-4D97-AF65-F5344CB8AC3E}">
        <p14:creationId xmlns:p14="http://schemas.microsoft.com/office/powerpoint/2010/main" val="311343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41D923-7C42-4AA6-B34E-8DCD9DFEE4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AA850A-7712-4717-8EA0-D1687356AD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Spørgsmål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C055EC-2E7D-406B-9CAE-C975DE2912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29141" y="2482628"/>
            <a:ext cx="4320000" cy="717772"/>
          </a:xfrm>
        </p:spPr>
        <p:txBody>
          <a:bodyPr/>
          <a:lstStyle/>
          <a:p>
            <a:r>
              <a:rPr lang="da-DK" dirty="0"/>
              <a:t>Maria Faragó</a:t>
            </a:r>
          </a:p>
          <a:p>
            <a:r>
              <a:rPr lang="da-DK" sz="1050" dirty="0"/>
              <a:t>Water </a:t>
            </a:r>
            <a:r>
              <a:rPr lang="da-DK" sz="1050" dirty="0" err="1"/>
              <a:t>Sustainability</a:t>
            </a:r>
            <a:r>
              <a:rPr lang="da-DK" sz="1050" dirty="0"/>
              <a:t> Specialist, Rambøll Water</a:t>
            </a:r>
          </a:p>
          <a:p>
            <a:r>
              <a:rPr lang="da-DK" dirty="0">
                <a:hlinkClick r:id="rId2"/>
              </a:rPr>
              <a:t>mfar@ramboll.dk</a:t>
            </a:r>
            <a:r>
              <a:rPr lang="da-DK" dirty="0"/>
              <a:t>, +45 5161 413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F17CE2-0356-4813-8565-5A27F4003A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999" y="2482628"/>
            <a:ext cx="1734671" cy="173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380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F9EF3-A40E-4274-85BD-CA5F709ECA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16EC8-7266-4284-9590-2E71BCFE4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dgangspunkt fra et debatindlæg i </a:t>
            </a:r>
            <a:r>
              <a:rPr lang="da-DK" dirty="0" err="1"/>
              <a:t>Watertech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DA75B3-AAE5-4EFF-A387-F19E0FA73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404919-62ED-4A37-A4B0-E0A43CC43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063" y="1396467"/>
            <a:ext cx="6027343" cy="340675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2F7232-2B07-4A57-85F8-E94132392C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0906"/>
          <a:stretch/>
        </p:blipFill>
        <p:spPr>
          <a:xfrm>
            <a:off x="5853852" y="3514021"/>
            <a:ext cx="6174901" cy="321785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53698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F9EF3-A40E-4274-85BD-CA5F709ECA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16EC8-7266-4284-9590-2E71BCFE4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dgangspunkt fra et debatindlæg i </a:t>
            </a:r>
            <a:r>
              <a:rPr lang="da-DK" dirty="0" err="1"/>
              <a:t>Watertech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DA75B3-AAE5-4EFF-A387-F19E0FA73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404919-62ED-4A37-A4B0-E0A43CC437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063" y="1396467"/>
            <a:ext cx="6027343" cy="340675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2F7232-2B07-4A57-85F8-E94132392C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0906"/>
          <a:stretch/>
        </p:blipFill>
        <p:spPr>
          <a:xfrm>
            <a:off x="5853852" y="3514021"/>
            <a:ext cx="6174901" cy="321785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0A7390-5450-48A8-B79F-74566E6626C9}"/>
              </a:ext>
            </a:extLst>
          </p:cNvPr>
          <p:cNvCxnSpPr/>
          <p:nvPr/>
        </p:nvCxnSpPr>
        <p:spPr>
          <a:xfrm>
            <a:off x="2448903" y="4120053"/>
            <a:ext cx="662152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F526214-7169-42A1-8AB2-D3762871BA3D}"/>
              </a:ext>
            </a:extLst>
          </p:cNvPr>
          <p:cNvSpPr/>
          <p:nvPr/>
        </p:nvSpPr>
        <p:spPr>
          <a:xfrm>
            <a:off x="424797" y="3888826"/>
            <a:ext cx="212044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400" b="1" dirty="0">
                <a:solidFill>
                  <a:srgbClr val="FF0000"/>
                </a:solidFill>
                <a:latin typeface="+mj-lt"/>
              </a:rPr>
              <a:t>fælles og standard</a:t>
            </a:r>
          </a:p>
        </p:txBody>
      </p:sp>
    </p:spTree>
    <p:extLst>
      <p:ext uri="{BB962C8B-B14F-4D97-AF65-F5344CB8AC3E}">
        <p14:creationId xmlns:p14="http://schemas.microsoft.com/office/powerpoint/2010/main" val="1116864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EEA653B-7C2C-4CC6-88C6-820BC5217052}"/>
              </a:ext>
            </a:extLst>
          </p:cNvPr>
          <p:cNvSpPr/>
          <p:nvPr/>
        </p:nvSpPr>
        <p:spPr>
          <a:xfrm>
            <a:off x="247648" y="5223804"/>
            <a:ext cx="11584352" cy="45577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8293E61-0951-4908-BCC1-E54F2C5C5A10}"/>
              </a:ext>
            </a:extLst>
          </p:cNvPr>
          <p:cNvSpPr/>
          <p:nvPr/>
        </p:nvSpPr>
        <p:spPr>
          <a:xfrm>
            <a:off x="247648" y="4198837"/>
            <a:ext cx="11584352" cy="945509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00F3CDF-2590-4201-BE5D-F3233AB72B86}"/>
              </a:ext>
            </a:extLst>
          </p:cNvPr>
          <p:cNvSpPr/>
          <p:nvPr/>
        </p:nvSpPr>
        <p:spPr>
          <a:xfrm>
            <a:off x="247648" y="1838325"/>
            <a:ext cx="11584352" cy="2282826"/>
          </a:xfrm>
          <a:prstGeom prst="roundRect">
            <a:avLst>
              <a:gd name="adj" fmla="val 514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559931-4487-4A47-9E15-3492196A0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andsektor udfordringer, målsætninger og mulighe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45CCB-733D-4034-8F7C-159E82A9F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838325"/>
            <a:ext cx="11692275" cy="367342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a-DK" sz="1800" dirty="0"/>
              <a:t>Danmark har til formål at </a:t>
            </a:r>
            <a:r>
              <a:rPr lang="da-DK" sz="1800" b="1" dirty="0">
                <a:solidFill>
                  <a:srgbClr val="05326E"/>
                </a:solidFill>
              </a:rPr>
              <a:t>reducere CO</a:t>
            </a:r>
            <a:r>
              <a:rPr lang="da-DK" sz="1800" b="1" baseline="-25000" dirty="0">
                <a:solidFill>
                  <a:srgbClr val="05326E"/>
                </a:solidFill>
              </a:rPr>
              <a:t>2-ækv </a:t>
            </a:r>
            <a:r>
              <a:rPr lang="da-DK" sz="1800" b="1" dirty="0">
                <a:solidFill>
                  <a:srgbClr val="05326E"/>
                </a:solidFill>
              </a:rPr>
              <a:t>udledning med 70% </a:t>
            </a:r>
            <a:r>
              <a:rPr lang="da-DK" sz="1800" dirty="0"/>
              <a:t>i 2030 </a:t>
            </a:r>
          </a:p>
          <a:p>
            <a:pPr>
              <a:lnSpc>
                <a:spcPct val="150000"/>
              </a:lnSpc>
            </a:pPr>
            <a:r>
              <a:rPr lang="da-DK" sz="1800" dirty="0"/>
              <a:t>Vandsektoren skal være </a:t>
            </a:r>
            <a:r>
              <a:rPr lang="da-DK" sz="1800" b="1" dirty="0">
                <a:solidFill>
                  <a:srgbClr val="05326E"/>
                </a:solidFill>
              </a:rPr>
              <a:t>klima- og energi neutral i 2030</a:t>
            </a:r>
          </a:p>
          <a:p>
            <a:pPr>
              <a:lnSpc>
                <a:spcPct val="150000"/>
              </a:lnSpc>
            </a:pPr>
            <a:r>
              <a:rPr lang="da-DK" sz="1800" dirty="0"/>
              <a:t>Indførelse af </a:t>
            </a:r>
            <a:r>
              <a:rPr lang="da-DK" sz="1800" b="1" dirty="0">
                <a:solidFill>
                  <a:srgbClr val="05326E"/>
                </a:solidFill>
              </a:rPr>
              <a:t>grænseværdier for N</a:t>
            </a:r>
            <a:r>
              <a:rPr lang="da-DK" sz="1800" b="1" baseline="-25000" dirty="0">
                <a:solidFill>
                  <a:srgbClr val="05326E"/>
                </a:solidFill>
              </a:rPr>
              <a:t>2</a:t>
            </a:r>
            <a:r>
              <a:rPr lang="da-DK" sz="1800" b="1" dirty="0">
                <a:solidFill>
                  <a:srgbClr val="05326E"/>
                </a:solidFill>
              </a:rPr>
              <a:t>O emissioner </a:t>
            </a:r>
            <a:r>
              <a:rPr lang="da-DK" sz="1800" dirty="0"/>
              <a:t>for renseanlæg større end 30.000 PE i 2025</a:t>
            </a:r>
          </a:p>
          <a:p>
            <a:pPr>
              <a:lnSpc>
                <a:spcPct val="150000"/>
              </a:lnSpc>
            </a:pPr>
            <a:r>
              <a:rPr lang="da-DK" sz="1800" dirty="0"/>
              <a:t>Mange vandforsyninger </a:t>
            </a:r>
            <a:r>
              <a:rPr lang="da-DK" sz="1800" b="1" dirty="0">
                <a:solidFill>
                  <a:srgbClr val="05326E"/>
                </a:solidFill>
              </a:rPr>
              <a:t>udgiver deres egne bæredygtighedsstrategier</a:t>
            </a:r>
            <a:r>
              <a:rPr lang="da-DK" sz="1800" b="1" dirty="0"/>
              <a:t>: </a:t>
            </a:r>
            <a:r>
              <a:rPr lang="da-DK" sz="1800" dirty="0"/>
              <a:t>fokus på </a:t>
            </a:r>
            <a:r>
              <a:rPr lang="da-DK" sz="1800" dirty="0" err="1"/>
              <a:t>SDGer</a:t>
            </a:r>
            <a:r>
              <a:rPr lang="da-DK" sz="1800" dirty="0"/>
              <a:t>, målsætning om at være CO</a:t>
            </a:r>
            <a:r>
              <a:rPr lang="da-DK" sz="1800" baseline="-25000" dirty="0"/>
              <a:t>2</a:t>
            </a:r>
            <a:r>
              <a:rPr lang="da-DK" sz="1800" dirty="0"/>
              <a:t>- og ressource neutrale</a:t>
            </a:r>
          </a:p>
          <a:p>
            <a:pPr>
              <a:lnSpc>
                <a:spcPct val="150000"/>
              </a:lnSpc>
            </a:pPr>
            <a:r>
              <a:rPr lang="da-DK" sz="1800" dirty="0"/>
              <a:t>Krav om </a:t>
            </a:r>
            <a:r>
              <a:rPr lang="da-DK" sz="1800" b="1" dirty="0">
                <a:solidFill>
                  <a:srgbClr val="05326E"/>
                </a:solidFill>
              </a:rPr>
              <a:t>effektivisering</a:t>
            </a:r>
          </a:p>
          <a:p>
            <a:pPr>
              <a:lnSpc>
                <a:spcPct val="150000"/>
              </a:lnSpc>
            </a:pPr>
            <a:r>
              <a:rPr lang="da-DK" sz="1800" dirty="0"/>
              <a:t>Øge eksport af dansk </a:t>
            </a:r>
            <a:r>
              <a:rPr lang="da-DK" sz="1800" b="1" dirty="0">
                <a:solidFill>
                  <a:srgbClr val="05326E"/>
                </a:solidFill>
              </a:rPr>
              <a:t>vandteknologi </a:t>
            </a:r>
          </a:p>
          <a:p>
            <a:pPr>
              <a:lnSpc>
                <a:spcPct val="150000"/>
              </a:lnSpc>
            </a:pPr>
            <a:r>
              <a:rPr lang="da-DK" sz="1800" b="1" dirty="0"/>
              <a:t>Krav</a:t>
            </a:r>
            <a:r>
              <a:rPr lang="da-DK" sz="1800" dirty="0"/>
              <a:t> om afrapportering ifølge </a:t>
            </a:r>
            <a:r>
              <a:rPr lang="da-DK" sz="1800" b="1" dirty="0"/>
              <a:t>EU taksonomien</a:t>
            </a:r>
            <a:r>
              <a:rPr lang="da-DK" sz="1800" dirty="0"/>
              <a:t>, som er en del af </a:t>
            </a:r>
            <a:r>
              <a:rPr lang="da-DK" sz="1800" b="1" i="1" dirty="0">
                <a:solidFill>
                  <a:srgbClr val="00B050"/>
                </a:solidFill>
              </a:rPr>
              <a:t>EU Green deal</a:t>
            </a:r>
            <a:endParaRPr lang="da-DK" sz="1800" b="1" dirty="0">
              <a:solidFill>
                <a:srgbClr val="00B05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4AAAB-1604-4651-AA0C-D53F5280D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117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5" grpId="0" animBg="1"/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FEE905-6B8B-41C2-AF62-E86EF79811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766" y="326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FEE905-6B8B-41C2-AF62-E86EF798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766" y="326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Footer Placeholder 1">
            <a:extLst>
              <a:ext uri="{FF2B5EF4-FFF2-40B4-BE49-F238E27FC236}">
                <a16:creationId xmlns:a16="http://schemas.microsoft.com/office/drawing/2014/main" id="{030574A4-A724-4CAD-99C8-53B443165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2800" y="6476400"/>
            <a:ext cx="393663" cy="108000"/>
          </a:xfrm>
        </p:spPr>
        <p:txBody>
          <a:bodyPr/>
          <a:lstStyle/>
          <a:p>
            <a:r>
              <a:rPr lang="en-GB" dirty="0"/>
              <a:t>Source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CDB2727-62F3-4770-AB3F-D3E87EB9332D}"/>
              </a:ext>
            </a:extLst>
          </p:cNvPr>
          <p:cNvSpPr/>
          <p:nvPr/>
        </p:nvSpPr>
        <p:spPr>
          <a:xfrm>
            <a:off x="6274962" y="0"/>
            <a:ext cx="5917035" cy="6858000"/>
          </a:xfrm>
          <a:prstGeom prst="rect">
            <a:avLst/>
          </a:prstGeom>
          <a:solidFill>
            <a:srgbClr val="E9E7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8E80108-5072-483B-ABC8-13A2DF4B342D}"/>
              </a:ext>
            </a:extLst>
          </p:cNvPr>
          <p:cNvSpPr/>
          <p:nvPr/>
        </p:nvSpPr>
        <p:spPr>
          <a:xfrm>
            <a:off x="358776" y="1834713"/>
            <a:ext cx="5029974" cy="386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63">
              <a:spcAft>
                <a:spcPts val="599"/>
              </a:spcAft>
            </a:pPr>
            <a:r>
              <a:rPr lang="en-GB" sz="1195" dirty="0">
                <a:latin typeface="+mj-lt"/>
              </a:rPr>
              <a:t>The European Green Deal consists of a series of major proposals, important commitments, and a detailed roadmap to create a Net Zero EU by 2050. Among other things, it includes:</a:t>
            </a:r>
            <a:br>
              <a:rPr lang="en-GB" sz="1195" dirty="0">
                <a:latin typeface="+mj-lt"/>
              </a:rPr>
            </a:br>
            <a:endParaRPr lang="en-GB" sz="1195" dirty="0">
              <a:latin typeface="+mj-lt"/>
            </a:endParaRPr>
          </a:p>
          <a:p>
            <a:pPr marL="285465" indent="-285557" defTabSz="913963">
              <a:spcAft>
                <a:spcPts val="599"/>
              </a:spcAft>
              <a:buFont typeface="Arial" panose="020B0604020202020204" pitchFamily="34" charset="0"/>
              <a:buChar char="•"/>
            </a:pPr>
            <a:r>
              <a:rPr lang="en-GB" sz="1195" dirty="0">
                <a:latin typeface="+mj-lt"/>
              </a:rPr>
              <a:t>Proposals to </a:t>
            </a:r>
            <a:r>
              <a:rPr lang="en-GB" sz="1195" b="1" dirty="0">
                <a:solidFill>
                  <a:srgbClr val="009DEF"/>
                </a:solidFill>
                <a:latin typeface="+mj-lt"/>
              </a:rPr>
              <a:t>reduce greenhouse gas emissions </a:t>
            </a:r>
            <a:r>
              <a:rPr lang="en-GB" sz="1195" dirty="0">
                <a:latin typeface="+mj-lt"/>
              </a:rPr>
              <a:t>to half of 1990 levels or even more by 2030.</a:t>
            </a:r>
          </a:p>
          <a:p>
            <a:pPr marL="285465" indent="-285557" defTabSz="913963">
              <a:spcAft>
                <a:spcPts val="599"/>
              </a:spcAft>
              <a:buFont typeface="Arial" panose="020B0604020202020204" pitchFamily="34" charset="0"/>
              <a:buChar char="•"/>
            </a:pPr>
            <a:r>
              <a:rPr lang="en-GB" sz="1195" dirty="0">
                <a:latin typeface="+mj-lt"/>
              </a:rPr>
              <a:t>Policies to ensure economic growth is decoupled from resource use.</a:t>
            </a:r>
          </a:p>
          <a:p>
            <a:pPr marL="285465" indent="-285557" defTabSz="913963">
              <a:spcAft>
                <a:spcPts val="599"/>
              </a:spcAft>
              <a:buFont typeface="Arial" panose="020B0604020202020204" pitchFamily="34" charset="0"/>
              <a:buChar char="•"/>
            </a:pPr>
            <a:r>
              <a:rPr lang="en-GB" sz="1195" dirty="0">
                <a:latin typeface="+mj-lt"/>
              </a:rPr>
              <a:t>Key actions to restore biodiversity.</a:t>
            </a:r>
          </a:p>
          <a:p>
            <a:pPr marL="285465" indent="-285557" defTabSz="913963">
              <a:spcAft>
                <a:spcPts val="599"/>
              </a:spcAft>
              <a:buFont typeface="Arial" panose="020B0604020202020204" pitchFamily="34" charset="0"/>
              <a:buChar char="•"/>
            </a:pPr>
            <a:r>
              <a:rPr lang="en-GB" sz="1195" dirty="0">
                <a:latin typeface="+mj-lt"/>
              </a:rPr>
              <a:t>A law that will direct the European Union towards the goal of being </a:t>
            </a:r>
            <a:r>
              <a:rPr lang="en-GB" sz="1195" b="1" dirty="0">
                <a:solidFill>
                  <a:srgbClr val="009DEF"/>
                </a:solidFill>
                <a:latin typeface="+mj-lt"/>
              </a:rPr>
              <a:t>climate neutral by 2050.</a:t>
            </a:r>
          </a:p>
          <a:p>
            <a:pPr defTabSz="913963">
              <a:spcAft>
                <a:spcPts val="599"/>
              </a:spcAft>
            </a:pPr>
            <a:endParaRPr lang="en-GB" sz="1195" dirty="0">
              <a:latin typeface="+mj-lt"/>
            </a:endParaRPr>
          </a:p>
          <a:p>
            <a:pPr defTabSz="913963">
              <a:spcAft>
                <a:spcPts val="599"/>
              </a:spcAft>
            </a:pPr>
            <a:r>
              <a:rPr lang="en-GB" sz="1195" dirty="0">
                <a:latin typeface="+mj-lt"/>
              </a:rPr>
              <a:t>All these policies are supported by the </a:t>
            </a:r>
            <a:r>
              <a:rPr lang="en-GB" sz="1195" b="1" dirty="0">
                <a:solidFill>
                  <a:srgbClr val="009DEF"/>
                </a:solidFill>
                <a:latin typeface="+mj-lt"/>
              </a:rPr>
              <a:t>Just Transition Mechanism </a:t>
            </a:r>
            <a:r>
              <a:rPr lang="en-GB" sz="1195" dirty="0">
                <a:latin typeface="+mj-lt"/>
              </a:rPr>
              <a:t>and the </a:t>
            </a:r>
            <a:r>
              <a:rPr lang="en-GB" sz="1195" b="1" dirty="0">
                <a:solidFill>
                  <a:srgbClr val="009DEF"/>
                </a:solidFill>
                <a:latin typeface="+mj-lt"/>
              </a:rPr>
              <a:t>Sustainable Finance Strategy. </a:t>
            </a:r>
            <a:r>
              <a:rPr lang="en-GB" sz="1195" dirty="0">
                <a:latin typeface="+mj-lt"/>
              </a:rPr>
              <a:t>The Sustainable Finance Strategy aims to finance the sustainable transition, while the Just Transition Mechanism ensures this transition is just and inclusive.</a:t>
            </a:r>
            <a:endParaRPr lang="en-GB" sz="1195" b="1" dirty="0">
              <a:solidFill>
                <a:srgbClr val="009DEF"/>
              </a:solidFill>
              <a:latin typeface="+mj-lt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31BA971-21E6-457F-B4D1-524904928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963"/>
            <a:fld id="{23AA811B-2EBD-4900-905E-5BE206449611}" type="slidenum">
              <a:rPr lang="en-GB">
                <a:solidFill>
                  <a:srgbClr val="009DF0"/>
                </a:solidFill>
                <a:latin typeface="Verdana"/>
              </a:rPr>
              <a:pPr defTabSz="913963"/>
              <a:t>5</a:t>
            </a:fld>
            <a:endParaRPr lang="en-GB" dirty="0">
              <a:solidFill>
                <a:srgbClr val="009DF0"/>
              </a:solidFill>
              <a:latin typeface="Verdana"/>
            </a:endParaRPr>
          </a:p>
        </p:txBody>
      </p:sp>
      <p:sp>
        <p:nvSpPr>
          <p:cNvPr id="4" name="TextBox 3">
            <a:hlinkClick r:id="rId6"/>
            <a:extLst>
              <a:ext uri="{FF2B5EF4-FFF2-40B4-BE49-F238E27FC236}">
                <a16:creationId xmlns:a16="http://schemas.microsoft.com/office/drawing/2014/main" id="{EAA21E4B-751E-4666-AD8A-692BE9841BC3}"/>
              </a:ext>
            </a:extLst>
          </p:cNvPr>
          <p:cNvSpPr txBox="1"/>
          <p:nvPr/>
        </p:nvSpPr>
        <p:spPr>
          <a:xfrm>
            <a:off x="1779426" y="6476539"/>
            <a:ext cx="1195840" cy="10772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defPPr>
              <a:defRPr lang="en-US"/>
            </a:defPPr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he European Green Deal;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01C28D3-4D12-4AEE-A8AA-22B97C1417E1}"/>
              </a:ext>
            </a:extLst>
          </p:cNvPr>
          <p:cNvSpPr/>
          <p:nvPr/>
        </p:nvSpPr>
        <p:spPr>
          <a:xfrm>
            <a:off x="8545568" y="5675696"/>
            <a:ext cx="637743" cy="7609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D2D6E02-90CE-4408-88C4-C4CEEC2762D7}"/>
              </a:ext>
            </a:extLst>
          </p:cNvPr>
          <p:cNvSpPr/>
          <p:nvPr/>
        </p:nvSpPr>
        <p:spPr>
          <a:xfrm>
            <a:off x="8891043" y="5477963"/>
            <a:ext cx="448194" cy="5347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65" dirty="0"/>
          </a:p>
        </p:txBody>
      </p:sp>
      <p:sp>
        <p:nvSpPr>
          <p:cNvPr id="140" name="AutoShape 22">
            <a:extLst>
              <a:ext uri="{FF2B5EF4-FFF2-40B4-BE49-F238E27FC236}">
                <a16:creationId xmlns:a16="http://schemas.microsoft.com/office/drawing/2014/main" id="{86F2710F-3E98-434F-AA71-C221F2C28E6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572622" y="5823220"/>
            <a:ext cx="355897" cy="425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4262" tIns="32131" rIns="64262" bIns="32131" numCol="1" anchor="t" anchorCtr="0" compatLnSpc="1">
            <a:prstTxWarp prst="textNoShape">
              <a:avLst/>
            </a:prstTxWarp>
          </a:bodyPr>
          <a:lstStyle/>
          <a:p>
            <a:endParaRPr lang="da-DK" sz="1265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2DADF54-B244-4399-8116-8E2C505D8101}"/>
              </a:ext>
            </a:extLst>
          </p:cNvPr>
          <p:cNvSpPr>
            <a:spLocks noChangeAspect="1"/>
          </p:cNvSpPr>
          <p:nvPr/>
        </p:nvSpPr>
        <p:spPr>
          <a:xfrm>
            <a:off x="7082420" y="1667253"/>
            <a:ext cx="4579327" cy="4579327"/>
          </a:xfrm>
          <a:prstGeom prst="ellipse">
            <a:avLst/>
          </a:prstGeom>
          <a:solidFill>
            <a:schemeClr val="accent2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600" tIns="25300" rIns="50600" bIns="25300" rtlCol="0" anchor="ctr"/>
          <a:lstStyle/>
          <a:p>
            <a:pPr algn="ctr"/>
            <a:endParaRPr lang="en-GB" sz="1406" dirty="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29DA43E8-2D28-42C0-87A7-33A97E1F1F2B}"/>
              </a:ext>
            </a:extLst>
          </p:cNvPr>
          <p:cNvSpPr>
            <a:spLocks noChangeAspect="1"/>
          </p:cNvSpPr>
          <p:nvPr/>
        </p:nvSpPr>
        <p:spPr>
          <a:xfrm>
            <a:off x="8170188" y="2792366"/>
            <a:ext cx="2329099" cy="2329100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600" tIns="25300" rIns="50600" bIns="25300" rtlCol="0" anchor="ctr"/>
          <a:lstStyle/>
          <a:p>
            <a:pPr algn="ctr"/>
            <a:endParaRPr lang="en-GB" sz="700" dirty="0">
              <a:latin typeface="+mj-lt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D73CD31-2CEE-403A-B932-39600C0E3F23}"/>
              </a:ext>
            </a:extLst>
          </p:cNvPr>
          <p:cNvCxnSpPr>
            <a:cxnSpLocks/>
            <a:stCxn id="112" idx="4"/>
            <a:endCxn id="8" idx="4"/>
          </p:cNvCxnSpPr>
          <p:nvPr/>
        </p:nvCxnSpPr>
        <p:spPr>
          <a:xfrm flipV="1">
            <a:off x="9334738" y="4627214"/>
            <a:ext cx="0" cy="49425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6685EBD-50A0-40B3-A520-1AFE5E478CE4}"/>
              </a:ext>
            </a:extLst>
          </p:cNvPr>
          <p:cNvCxnSpPr>
            <a:cxnSpLocks/>
            <a:stCxn id="112" idx="3"/>
            <a:endCxn id="8" idx="3"/>
          </p:cNvCxnSpPr>
          <p:nvPr/>
        </p:nvCxnSpPr>
        <p:spPr>
          <a:xfrm flipV="1">
            <a:off x="8511277" y="4430889"/>
            <a:ext cx="349378" cy="3494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08461701-E48B-47D2-8E0B-13DFA12C8A9E}"/>
              </a:ext>
            </a:extLst>
          </p:cNvPr>
          <p:cNvCxnSpPr>
            <a:cxnSpLocks/>
            <a:stCxn id="112" idx="5"/>
            <a:endCxn id="8" idx="5"/>
          </p:cNvCxnSpPr>
          <p:nvPr/>
        </p:nvCxnSpPr>
        <p:spPr>
          <a:xfrm flipH="1" flipV="1">
            <a:off x="9808821" y="4430889"/>
            <a:ext cx="349377" cy="3494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E101971-5375-4B8D-86FB-FF5722EFEC82}"/>
              </a:ext>
            </a:extLst>
          </p:cNvPr>
          <p:cNvCxnSpPr>
            <a:cxnSpLocks/>
            <a:stCxn id="8" idx="7"/>
            <a:endCxn id="112" idx="7"/>
          </p:cNvCxnSpPr>
          <p:nvPr/>
        </p:nvCxnSpPr>
        <p:spPr>
          <a:xfrm flipV="1">
            <a:off x="9808821" y="3133455"/>
            <a:ext cx="349377" cy="34949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59C0862-84C2-423E-A7C9-9B7E9D36E08E}"/>
              </a:ext>
            </a:extLst>
          </p:cNvPr>
          <p:cNvCxnSpPr>
            <a:cxnSpLocks/>
            <a:stCxn id="8" idx="0"/>
            <a:endCxn id="112" idx="0"/>
          </p:cNvCxnSpPr>
          <p:nvPr/>
        </p:nvCxnSpPr>
        <p:spPr>
          <a:xfrm flipV="1">
            <a:off x="9334738" y="2792366"/>
            <a:ext cx="0" cy="49425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56FB1628-880A-40B7-A270-1F3374B52C44}"/>
              </a:ext>
            </a:extLst>
          </p:cNvPr>
          <p:cNvCxnSpPr>
            <a:cxnSpLocks/>
            <a:stCxn id="8" idx="1"/>
            <a:endCxn id="112" idx="1"/>
          </p:cNvCxnSpPr>
          <p:nvPr/>
        </p:nvCxnSpPr>
        <p:spPr>
          <a:xfrm flipH="1" flipV="1">
            <a:off x="8511277" y="3133455"/>
            <a:ext cx="349378" cy="34949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5D5D901-1086-4F94-A203-7A3DF1F08F44}"/>
              </a:ext>
            </a:extLst>
          </p:cNvPr>
          <p:cNvCxnSpPr>
            <a:cxnSpLocks/>
            <a:stCxn id="8" idx="2"/>
            <a:endCxn id="112" idx="2"/>
          </p:cNvCxnSpPr>
          <p:nvPr/>
        </p:nvCxnSpPr>
        <p:spPr>
          <a:xfrm flipH="1" flipV="1">
            <a:off x="8170188" y="3956916"/>
            <a:ext cx="494096" cy="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19D0F71-C017-4E23-8B05-9BD17ABE5193}"/>
              </a:ext>
            </a:extLst>
          </p:cNvPr>
          <p:cNvCxnSpPr>
            <a:cxnSpLocks/>
            <a:stCxn id="112" idx="6"/>
            <a:endCxn id="8" idx="6"/>
          </p:cNvCxnSpPr>
          <p:nvPr/>
        </p:nvCxnSpPr>
        <p:spPr>
          <a:xfrm flipH="1">
            <a:off x="10005192" y="3956916"/>
            <a:ext cx="494095" cy="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DCB17BC3-34C8-4B09-B301-30785E4CE32C}"/>
              </a:ext>
            </a:extLst>
          </p:cNvPr>
          <p:cNvSpPr>
            <a:spLocks noChangeAspect="1"/>
          </p:cNvSpPr>
          <p:nvPr/>
        </p:nvSpPr>
        <p:spPr>
          <a:xfrm>
            <a:off x="8664284" y="3286620"/>
            <a:ext cx="1340908" cy="1340594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600" tIns="25300" rIns="50600" bIns="25300" rtlCol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</a:rPr>
              <a:t>EU Green Dea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AC8500A-8672-4292-8D2A-7AB62B53DEE1}"/>
              </a:ext>
            </a:extLst>
          </p:cNvPr>
          <p:cNvSpPr>
            <a:spLocks noChangeAspect="1"/>
          </p:cNvSpPr>
          <p:nvPr/>
        </p:nvSpPr>
        <p:spPr>
          <a:xfrm>
            <a:off x="7399196" y="1984030"/>
            <a:ext cx="3945777" cy="3945777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40A048-A53A-404F-80C8-67EDA4F5020F}"/>
              </a:ext>
            </a:extLst>
          </p:cNvPr>
          <p:cNvSpPr/>
          <p:nvPr/>
        </p:nvSpPr>
        <p:spPr>
          <a:xfrm>
            <a:off x="8418084" y="1889022"/>
            <a:ext cx="1908000" cy="4392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0EF9F9F-D0E4-498C-8046-F48734405E19}"/>
              </a:ext>
            </a:extLst>
          </p:cNvPr>
          <p:cNvSpPr txBox="1"/>
          <p:nvPr/>
        </p:nvSpPr>
        <p:spPr>
          <a:xfrm>
            <a:off x="8634981" y="2179401"/>
            <a:ext cx="1474205" cy="436633"/>
          </a:xfrm>
          <a:prstGeom prst="rect">
            <a:avLst/>
          </a:prstGeom>
          <a:noFill/>
        </p:spPr>
        <p:txBody>
          <a:bodyPr wrap="square">
            <a:prstTxWarp prst="textArchUp">
              <a:avLst>
                <a:gd name="adj" fmla="val 11489712"/>
              </a:avLst>
            </a:prstTxWarp>
            <a:noAutofit/>
          </a:bodyPr>
          <a:lstStyle>
            <a:defPPr>
              <a:defRPr lang="en-US"/>
            </a:defPPr>
            <a:lvl1pPr>
              <a:defRPr sz="1200" b="1" i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algn="ctr"/>
            <a:r>
              <a:rPr lang="en-GB" dirty="0"/>
              <a:t>Just Transi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ACAEA29-29CA-4908-B59E-9FCB3B4E920A}"/>
              </a:ext>
            </a:extLst>
          </p:cNvPr>
          <p:cNvSpPr txBox="1"/>
          <p:nvPr/>
        </p:nvSpPr>
        <p:spPr>
          <a:xfrm>
            <a:off x="7047730" y="790327"/>
            <a:ext cx="4648708" cy="2616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700" b="1" dirty="0">
                <a:solidFill>
                  <a:schemeClr val="accent2"/>
                </a:solidFill>
              </a:rPr>
              <a:t>Elements of the European Green Dea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8BF1DA11-F2C6-4C3C-9441-C87BC95E0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5914962" cy="936000"/>
          </a:xfrm>
        </p:spPr>
        <p:txBody>
          <a:bodyPr vert="horz"/>
          <a:lstStyle/>
          <a:p>
            <a:r>
              <a:rPr lang="en-GB" dirty="0"/>
              <a:t>The EU Green Deal framework</a:t>
            </a:r>
          </a:p>
        </p:txBody>
      </p:sp>
      <p:sp>
        <p:nvSpPr>
          <p:cNvPr id="71" name="TextBox 70">
            <a:hlinkClick r:id="rId7"/>
            <a:extLst>
              <a:ext uri="{FF2B5EF4-FFF2-40B4-BE49-F238E27FC236}">
                <a16:creationId xmlns:a16="http://schemas.microsoft.com/office/drawing/2014/main" id="{5080F5C8-3501-4E67-A9D0-123C1EA76D61}"/>
              </a:ext>
            </a:extLst>
          </p:cNvPr>
          <p:cNvSpPr txBox="1"/>
          <p:nvPr/>
        </p:nvSpPr>
        <p:spPr>
          <a:xfrm>
            <a:off x="3018228" y="6476678"/>
            <a:ext cx="1665521" cy="107722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defPPr>
              <a:defRPr lang="en-US"/>
            </a:defPPr>
            <a:lvl1pPr>
              <a:defRPr sz="7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ustainable Europe Investment Plan.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D991C12-EB2E-425A-87CC-BA5205B99D8D}"/>
              </a:ext>
            </a:extLst>
          </p:cNvPr>
          <p:cNvSpPr/>
          <p:nvPr/>
        </p:nvSpPr>
        <p:spPr>
          <a:xfrm>
            <a:off x="8418084" y="5578254"/>
            <a:ext cx="1908000" cy="4392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D42226E0-B262-43D9-9352-4E1EC418EAFD}"/>
              </a:ext>
            </a:extLst>
          </p:cNvPr>
          <p:cNvSpPr txBox="1"/>
          <p:nvPr/>
        </p:nvSpPr>
        <p:spPr>
          <a:xfrm>
            <a:off x="8427529" y="5105080"/>
            <a:ext cx="1889109" cy="72053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>
              <a:defRPr sz="14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1200" dirty="0">
                <a:solidFill>
                  <a:schemeClr val="bg1"/>
                </a:solidFill>
                <a:latin typeface="+mj-lt"/>
              </a:rPr>
              <a:t>Sustainable finance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BD3D53AF-CF5F-4817-9594-C05BE80768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85358" y="1786007"/>
            <a:ext cx="280990" cy="252422"/>
            <a:chOff x="5786" y="1125"/>
            <a:chExt cx="177" cy="159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9F130E8E-9202-4148-A748-1FFA70388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" y="1275"/>
              <a:ext cx="177" cy="9"/>
            </a:xfrm>
            <a:custGeom>
              <a:avLst/>
              <a:gdLst>
                <a:gd name="T0" fmla="*/ 8 w 644"/>
                <a:gd name="T1" fmla="*/ 0 h 32"/>
                <a:gd name="T2" fmla="*/ 0 w 644"/>
                <a:gd name="T3" fmla="*/ 8 h 32"/>
                <a:gd name="T4" fmla="*/ 0 w 644"/>
                <a:gd name="T5" fmla="*/ 32 h 32"/>
                <a:gd name="T6" fmla="*/ 644 w 644"/>
                <a:gd name="T7" fmla="*/ 31 h 32"/>
                <a:gd name="T8" fmla="*/ 644 w 644"/>
                <a:gd name="T9" fmla="*/ 10 h 32"/>
                <a:gd name="T10" fmla="*/ 635 w 644"/>
                <a:gd name="T11" fmla="*/ 0 h 32"/>
                <a:gd name="T12" fmla="*/ 8 w 644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4" h="32">
                  <a:moveTo>
                    <a:pt x="8" y="0"/>
                  </a:moveTo>
                  <a:cubicBezTo>
                    <a:pt x="0" y="0"/>
                    <a:pt x="0" y="8"/>
                    <a:pt x="0" y="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644" y="31"/>
                    <a:pt x="644" y="31"/>
                    <a:pt x="644" y="31"/>
                  </a:cubicBezTo>
                  <a:cubicBezTo>
                    <a:pt x="644" y="10"/>
                    <a:pt x="644" y="10"/>
                    <a:pt x="644" y="10"/>
                  </a:cubicBezTo>
                  <a:cubicBezTo>
                    <a:pt x="644" y="0"/>
                    <a:pt x="635" y="0"/>
                    <a:pt x="635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A8D7B28C-B833-4AFA-8A5A-CC17A0605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" y="1250"/>
              <a:ext cx="150" cy="23"/>
            </a:xfrm>
            <a:custGeom>
              <a:avLst/>
              <a:gdLst>
                <a:gd name="T0" fmla="*/ 0 w 546"/>
                <a:gd name="T1" fmla="*/ 18 h 84"/>
                <a:gd name="T2" fmla="*/ 2 w 546"/>
                <a:gd name="T3" fmla="*/ 12 h 84"/>
                <a:gd name="T4" fmla="*/ 17 w 546"/>
                <a:gd name="T5" fmla="*/ 0 h 84"/>
                <a:gd name="T6" fmla="*/ 23 w 546"/>
                <a:gd name="T7" fmla="*/ 0 h 84"/>
                <a:gd name="T8" fmla="*/ 523 w 546"/>
                <a:gd name="T9" fmla="*/ 0 h 84"/>
                <a:gd name="T10" fmla="*/ 538 w 546"/>
                <a:gd name="T11" fmla="*/ 4 h 84"/>
                <a:gd name="T12" fmla="*/ 546 w 546"/>
                <a:gd name="T13" fmla="*/ 21 h 84"/>
                <a:gd name="T14" fmla="*/ 546 w 546"/>
                <a:gd name="T15" fmla="*/ 38 h 84"/>
                <a:gd name="T16" fmla="*/ 546 w 546"/>
                <a:gd name="T17" fmla="*/ 62 h 84"/>
                <a:gd name="T18" fmla="*/ 543 w 546"/>
                <a:gd name="T19" fmla="*/ 75 h 84"/>
                <a:gd name="T20" fmla="*/ 526 w 546"/>
                <a:gd name="T21" fmla="*/ 84 h 84"/>
                <a:gd name="T22" fmla="*/ 524 w 546"/>
                <a:gd name="T23" fmla="*/ 84 h 84"/>
                <a:gd name="T24" fmla="*/ 22 w 546"/>
                <a:gd name="T25" fmla="*/ 84 h 84"/>
                <a:gd name="T26" fmla="*/ 6 w 546"/>
                <a:gd name="T27" fmla="*/ 79 h 84"/>
                <a:gd name="T28" fmla="*/ 0 w 546"/>
                <a:gd name="T29" fmla="*/ 67 h 84"/>
                <a:gd name="T30" fmla="*/ 0 w 546"/>
                <a:gd name="T31" fmla="*/ 66 h 84"/>
                <a:gd name="T32" fmla="*/ 0 w 546"/>
                <a:gd name="T33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" h="84">
                  <a:moveTo>
                    <a:pt x="0" y="18"/>
                  </a:moveTo>
                  <a:cubicBezTo>
                    <a:pt x="1" y="16"/>
                    <a:pt x="1" y="14"/>
                    <a:pt x="2" y="12"/>
                  </a:cubicBezTo>
                  <a:cubicBezTo>
                    <a:pt x="4" y="5"/>
                    <a:pt x="10" y="1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190" y="0"/>
                    <a:pt x="356" y="0"/>
                    <a:pt x="523" y="0"/>
                  </a:cubicBezTo>
                  <a:cubicBezTo>
                    <a:pt x="529" y="0"/>
                    <a:pt x="534" y="1"/>
                    <a:pt x="538" y="4"/>
                  </a:cubicBezTo>
                  <a:cubicBezTo>
                    <a:pt x="544" y="8"/>
                    <a:pt x="546" y="14"/>
                    <a:pt x="546" y="21"/>
                  </a:cubicBezTo>
                  <a:cubicBezTo>
                    <a:pt x="546" y="27"/>
                    <a:pt x="546" y="32"/>
                    <a:pt x="546" y="38"/>
                  </a:cubicBezTo>
                  <a:cubicBezTo>
                    <a:pt x="546" y="46"/>
                    <a:pt x="546" y="54"/>
                    <a:pt x="546" y="62"/>
                  </a:cubicBezTo>
                  <a:cubicBezTo>
                    <a:pt x="546" y="67"/>
                    <a:pt x="545" y="71"/>
                    <a:pt x="543" y="75"/>
                  </a:cubicBezTo>
                  <a:cubicBezTo>
                    <a:pt x="539" y="81"/>
                    <a:pt x="533" y="83"/>
                    <a:pt x="526" y="84"/>
                  </a:cubicBezTo>
                  <a:cubicBezTo>
                    <a:pt x="526" y="84"/>
                    <a:pt x="525" y="84"/>
                    <a:pt x="524" y="84"/>
                  </a:cubicBezTo>
                  <a:cubicBezTo>
                    <a:pt x="357" y="84"/>
                    <a:pt x="189" y="84"/>
                    <a:pt x="22" y="84"/>
                  </a:cubicBezTo>
                  <a:cubicBezTo>
                    <a:pt x="16" y="84"/>
                    <a:pt x="11" y="83"/>
                    <a:pt x="6" y="79"/>
                  </a:cubicBezTo>
                  <a:cubicBezTo>
                    <a:pt x="3" y="76"/>
                    <a:pt x="1" y="72"/>
                    <a:pt x="0" y="67"/>
                  </a:cubicBezTo>
                  <a:cubicBezTo>
                    <a:pt x="0" y="67"/>
                    <a:pt x="0" y="67"/>
                    <a:pt x="0" y="66"/>
                  </a:cubicBezTo>
                  <a:cubicBezTo>
                    <a:pt x="0" y="50"/>
                    <a:pt x="0" y="34"/>
                    <a:pt x="0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4A6F16D6-4940-4298-B544-EF1FFF9BB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" y="1125"/>
              <a:ext cx="150" cy="51"/>
            </a:xfrm>
            <a:custGeom>
              <a:avLst/>
              <a:gdLst>
                <a:gd name="T0" fmla="*/ 0 w 546"/>
                <a:gd name="T1" fmla="*/ 144 h 189"/>
                <a:gd name="T2" fmla="*/ 5 w 546"/>
                <a:gd name="T3" fmla="*/ 135 h 189"/>
                <a:gd name="T4" fmla="*/ 12 w 546"/>
                <a:gd name="T5" fmla="*/ 130 h 189"/>
                <a:gd name="T6" fmla="*/ 136 w 546"/>
                <a:gd name="T7" fmla="*/ 69 h 189"/>
                <a:gd name="T8" fmla="*/ 271 w 546"/>
                <a:gd name="T9" fmla="*/ 1 h 189"/>
                <a:gd name="T10" fmla="*/ 275 w 546"/>
                <a:gd name="T11" fmla="*/ 1 h 189"/>
                <a:gd name="T12" fmla="*/ 524 w 546"/>
                <a:gd name="T13" fmla="*/ 126 h 189"/>
                <a:gd name="T14" fmla="*/ 538 w 546"/>
                <a:gd name="T15" fmla="*/ 133 h 189"/>
                <a:gd name="T16" fmla="*/ 546 w 546"/>
                <a:gd name="T17" fmla="*/ 146 h 189"/>
                <a:gd name="T18" fmla="*/ 546 w 546"/>
                <a:gd name="T19" fmla="*/ 171 h 189"/>
                <a:gd name="T20" fmla="*/ 528 w 546"/>
                <a:gd name="T21" fmla="*/ 189 h 189"/>
                <a:gd name="T22" fmla="*/ 523 w 546"/>
                <a:gd name="T23" fmla="*/ 189 h 189"/>
                <a:gd name="T24" fmla="*/ 23 w 546"/>
                <a:gd name="T25" fmla="*/ 189 h 189"/>
                <a:gd name="T26" fmla="*/ 10 w 546"/>
                <a:gd name="T27" fmla="*/ 187 h 189"/>
                <a:gd name="T28" fmla="*/ 0 w 546"/>
                <a:gd name="T29" fmla="*/ 172 h 189"/>
                <a:gd name="T30" fmla="*/ 0 w 546"/>
                <a:gd name="T31" fmla="*/ 171 h 189"/>
                <a:gd name="T32" fmla="*/ 0 w 546"/>
                <a:gd name="T33" fmla="*/ 14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" h="189">
                  <a:moveTo>
                    <a:pt x="0" y="144"/>
                  </a:moveTo>
                  <a:cubicBezTo>
                    <a:pt x="1" y="141"/>
                    <a:pt x="2" y="138"/>
                    <a:pt x="5" y="135"/>
                  </a:cubicBezTo>
                  <a:cubicBezTo>
                    <a:pt x="7" y="133"/>
                    <a:pt x="10" y="132"/>
                    <a:pt x="12" y="130"/>
                  </a:cubicBezTo>
                  <a:cubicBezTo>
                    <a:pt x="54" y="110"/>
                    <a:pt x="95" y="89"/>
                    <a:pt x="136" y="69"/>
                  </a:cubicBezTo>
                  <a:cubicBezTo>
                    <a:pt x="181" y="46"/>
                    <a:pt x="226" y="24"/>
                    <a:pt x="271" y="1"/>
                  </a:cubicBezTo>
                  <a:cubicBezTo>
                    <a:pt x="273" y="0"/>
                    <a:pt x="273" y="0"/>
                    <a:pt x="275" y="1"/>
                  </a:cubicBezTo>
                  <a:cubicBezTo>
                    <a:pt x="358" y="42"/>
                    <a:pt x="441" y="84"/>
                    <a:pt x="524" y="126"/>
                  </a:cubicBezTo>
                  <a:cubicBezTo>
                    <a:pt x="529" y="128"/>
                    <a:pt x="533" y="130"/>
                    <a:pt x="538" y="133"/>
                  </a:cubicBezTo>
                  <a:cubicBezTo>
                    <a:pt x="543" y="135"/>
                    <a:pt x="546" y="140"/>
                    <a:pt x="546" y="146"/>
                  </a:cubicBezTo>
                  <a:cubicBezTo>
                    <a:pt x="546" y="154"/>
                    <a:pt x="546" y="163"/>
                    <a:pt x="546" y="171"/>
                  </a:cubicBezTo>
                  <a:cubicBezTo>
                    <a:pt x="545" y="181"/>
                    <a:pt x="537" y="188"/>
                    <a:pt x="528" y="189"/>
                  </a:cubicBezTo>
                  <a:cubicBezTo>
                    <a:pt x="526" y="189"/>
                    <a:pt x="525" y="189"/>
                    <a:pt x="523" y="189"/>
                  </a:cubicBezTo>
                  <a:cubicBezTo>
                    <a:pt x="356" y="189"/>
                    <a:pt x="190" y="189"/>
                    <a:pt x="23" y="189"/>
                  </a:cubicBezTo>
                  <a:cubicBezTo>
                    <a:pt x="18" y="189"/>
                    <a:pt x="14" y="189"/>
                    <a:pt x="10" y="187"/>
                  </a:cubicBezTo>
                  <a:cubicBezTo>
                    <a:pt x="5" y="184"/>
                    <a:pt x="1" y="179"/>
                    <a:pt x="0" y="172"/>
                  </a:cubicBezTo>
                  <a:cubicBezTo>
                    <a:pt x="0" y="172"/>
                    <a:pt x="0" y="171"/>
                    <a:pt x="0" y="171"/>
                  </a:cubicBezTo>
                  <a:cubicBezTo>
                    <a:pt x="0" y="162"/>
                    <a:pt x="0" y="153"/>
                    <a:pt x="0" y="1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E4236EF-FF97-4B91-8ECD-AE91A242F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" y="1182"/>
              <a:ext cx="35" cy="62"/>
            </a:xfrm>
            <a:custGeom>
              <a:avLst/>
              <a:gdLst>
                <a:gd name="T0" fmla="*/ 22 w 127"/>
                <a:gd name="T1" fmla="*/ 231 h 231"/>
                <a:gd name="T2" fmla="*/ 22 w 127"/>
                <a:gd name="T3" fmla="*/ 228 h 231"/>
                <a:gd name="T4" fmla="*/ 22 w 127"/>
                <a:gd name="T5" fmla="*/ 45 h 231"/>
                <a:gd name="T6" fmla="*/ 19 w 127"/>
                <a:gd name="T7" fmla="*/ 42 h 231"/>
                <a:gd name="T8" fmla="*/ 1 w 127"/>
                <a:gd name="T9" fmla="*/ 25 h 231"/>
                <a:gd name="T10" fmla="*/ 1 w 127"/>
                <a:gd name="T11" fmla="*/ 21 h 231"/>
                <a:gd name="T12" fmla="*/ 0 w 127"/>
                <a:gd name="T13" fmla="*/ 0 h 231"/>
                <a:gd name="T14" fmla="*/ 126 w 127"/>
                <a:gd name="T15" fmla="*/ 0 h 231"/>
                <a:gd name="T16" fmla="*/ 126 w 127"/>
                <a:gd name="T17" fmla="*/ 1 h 231"/>
                <a:gd name="T18" fmla="*/ 126 w 127"/>
                <a:gd name="T19" fmla="*/ 24 h 231"/>
                <a:gd name="T20" fmla="*/ 107 w 127"/>
                <a:gd name="T21" fmla="*/ 42 h 231"/>
                <a:gd name="T22" fmla="*/ 106 w 127"/>
                <a:gd name="T23" fmla="*/ 42 h 231"/>
                <a:gd name="T24" fmla="*/ 106 w 127"/>
                <a:gd name="T25" fmla="*/ 231 h 231"/>
                <a:gd name="T26" fmla="*/ 22 w 127"/>
                <a:gd name="T27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231">
                  <a:moveTo>
                    <a:pt x="22" y="231"/>
                  </a:moveTo>
                  <a:cubicBezTo>
                    <a:pt x="22" y="230"/>
                    <a:pt x="22" y="229"/>
                    <a:pt x="22" y="228"/>
                  </a:cubicBezTo>
                  <a:cubicBezTo>
                    <a:pt x="22" y="167"/>
                    <a:pt x="22" y="106"/>
                    <a:pt x="22" y="45"/>
                  </a:cubicBezTo>
                  <a:cubicBezTo>
                    <a:pt x="22" y="42"/>
                    <a:pt x="22" y="42"/>
                    <a:pt x="19" y="42"/>
                  </a:cubicBezTo>
                  <a:cubicBezTo>
                    <a:pt x="10" y="42"/>
                    <a:pt x="2" y="34"/>
                    <a:pt x="1" y="25"/>
                  </a:cubicBezTo>
                  <a:cubicBezTo>
                    <a:pt x="1" y="24"/>
                    <a:pt x="1" y="22"/>
                    <a:pt x="1" y="21"/>
                  </a:cubicBezTo>
                  <a:cubicBezTo>
                    <a:pt x="0" y="14"/>
                    <a:pt x="0" y="7"/>
                    <a:pt x="0" y="0"/>
                  </a:cubicBezTo>
                  <a:cubicBezTo>
                    <a:pt x="42" y="0"/>
                    <a:pt x="84" y="0"/>
                    <a:pt x="126" y="0"/>
                  </a:cubicBezTo>
                  <a:cubicBezTo>
                    <a:pt x="126" y="0"/>
                    <a:pt x="126" y="0"/>
                    <a:pt x="126" y="1"/>
                  </a:cubicBezTo>
                  <a:cubicBezTo>
                    <a:pt x="126" y="8"/>
                    <a:pt x="127" y="16"/>
                    <a:pt x="126" y="24"/>
                  </a:cubicBezTo>
                  <a:cubicBezTo>
                    <a:pt x="126" y="34"/>
                    <a:pt x="117" y="42"/>
                    <a:pt x="107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105"/>
                    <a:pt x="106" y="168"/>
                    <a:pt x="106" y="231"/>
                  </a:cubicBezTo>
                  <a:cubicBezTo>
                    <a:pt x="78" y="231"/>
                    <a:pt x="50" y="231"/>
                    <a:pt x="22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83ED39EB-9E86-41FD-9230-3FFAD1AED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" y="1182"/>
              <a:ext cx="35" cy="62"/>
            </a:xfrm>
            <a:custGeom>
              <a:avLst/>
              <a:gdLst>
                <a:gd name="T0" fmla="*/ 22 w 127"/>
                <a:gd name="T1" fmla="*/ 231 h 231"/>
                <a:gd name="T2" fmla="*/ 22 w 127"/>
                <a:gd name="T3" fmla="*/ 42 h 231"/>
                <a:gd name="T4" fmla="*/ 15 w 127"/>
                <a:gd name="T5" fmla="*/ 41 h 231"/>
                <a:gd name="T6" fmla="*/ 1 w 127"/>
                <a:gd name="T7" fmla="*/ 23 h 231"/>
                <a:gd name="T8" fmla="*/ 1 w 127"/>
                <a:gd name="T9" fmla="*/ 0 h 231"/>
                <a:gd name="T10" fmla="*/ 126 w 127"/>
                <a:gd name="T11" fmla="*/ 0 h 231"/>
                <a:gd name="T12" fmla="*/ 126 w 127"/>
                <a:gd name="T13" fmla="*/ 1 h 231"/>
                <a:gd name="T14" fmla="*/ 126 w 127"/>
                <a:gd name="T15" fmla="*/ 24 h 231"/>
                <a:gd name="T16" fmla="*/ 108 w 127"/>
                <a:gd name="T17" fmla="*/ 42 h 231"/>
                <a:gd name="T18" fmla="*/ 106 w 127"/>
                <a:gd name="T19" fmla="*/ 42 h 231"/>
                <a:gd name="T20" fmla="*/ 106 w 127"/>
                <a:gd name="T21" fmla="*/ 231 h 231"/>
                <a:gd name="T22" fmla="*/ 22 w 127"/>
                <a:gd name="T2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231">
                  <a:moveTo>
                    <a:pt x="22" y="231"/>
                  </a:moveTo>
                  <a:cubicBezTo>
                    <a:pt x="22" y="168"/>
                    <a:pt x="22" y="105"/>
                    <a:pt x="22" y="42"/>
                  </a:cubicBezTo>
                  <a:cubicBezTo>
                    <a:pt x="19" y="42"/>
                    <a:pt x="17" y="42"/>
                    <a:pt x="15" y="41"/>
                  </a:cubicBezTo>
                  <a:cubicBezTo>
                    <a:pt x="6" y="39"/>
                    <a:pt x="1" y="32"/>
                    <a:pt x="1" y="23"/>
                  </a:cubicBezTo>
                  <a:cubicBezTo>
                    <a:pt x="0" y="16"/>
                    <a:pt x="1" y="8"/>
                    <a:pt x="1" y="0"/>
                  </a:cubicBezTo>
                  <a:cubicBezTo>
                    <a:pt x="43" y="0"/>
                    <a:pt x="84" y="0"/>
                    <a:pt x="126" y="0"/>
                  </a:cubicBezTo>
                  <a:cubicBezTo>
                    <a:pt x="126" y="0"/>
                    <a:pt x="126" y="1"/>
                    <a:pt x="126" y="1"/>
                  </a:cubicBezTo>
                  <a:cubicBezTo>
                    <a:pt x="126" y="9"/>
                    <a:pt x="127" y="16"/>
                    <a:pt x="126" y="24"/>
                  </a:cubicBezTo>
                  <a:cubicBezTo>
                    <a:pt x="126" y="34"/>
                    <a:pt x="117" y="42"/>
                    <a:pt x="108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105"/>
                    <a:pt x="106" y="168"/>
                    <a:pt x="106" y="231"/>
                  </a:cubicBezTo>
                  <a:cubicBezTo>
                    <a:pt x="78" y="231"/>
                    <a:pt x="50" y="231"/>
                    <a:pt x="22" y="2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E8888E58-53B9-4FA7-A24D-2C8014622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" y="1182"/>
              <a:ext cx="35" cy="62"/>
            </a:xfrm>
            <a:custGeom>
              <a:avLst/>
              <a:gdLst>
                <a:gd name="T0" fmla="*/ 127 w 127"/>
                <a:gd name="T1" fmla="*/ 0 h 231"/>
                <a:gd name="T2" fmla="*/ 127 w 127"/>
                <a:gd name="T3" fmla="*/ 4 h 231"/>
                <a:gd name="T4" fmla="*/ 126 w 127"/>
                <a:gd name="T5" fmla="*/ 21 h 231"/>
                <a:gd name="T6" fmla="*/ 118 w 127"/>
                <a:gd name="T7" fmla="*/ 39 h 231"/>
                <a:gd name="T8" fmla="*/ 107 w 127"/>
                <a:gd name="T9" fmla="*/ 42 h 231"/>
                <a:gd name="T10" fmla="*/ 105 w 127"/>
                <a:gd name="T11" fmla="*/ 44 h 231"/>
                <a:gd name="T12" fmla="*/ 105 w 127"/>
                <a:gd name="T13" fmla="*/ 55 h 231"/>
                <a:gd name="T14" fmla="*/ 105 w 127"/>
                <a:gd name="T15" fmla="*/ 229 h 231"/>
                <a:gd name="T16" fmla="*/ 105 w 127"/>
                <a:gd name="T17" fmla="*/ 231 h 231"/>
                <a:gd name="T18" fmla="*/ 22 w 127"/>
                <a:gd name="T19" fmla="*/ 231 h 231"/>
                <a:gd name="T20" fmla="*/ 22 w 127"/>
                <a:gd name="T21" fmla="*/ 42 h 231"/>
                <a:gd name="T22" fmla="*/ 18 w 127"/>
                <a:gd name="T23" fmla="*/ 42 h 231"/>
                <a:gd name="T24" fmla="*/ 1 w 127"/>
                <a:gd name="T25" fmla="*/ 23 h 231"/>
                <a:gd name="T26" fmla="*/ 1 w 127"/>
                <a:gd name="T27" fmla="*/ 1 h 231"/>
                <a:gd name="T28" fmla="*/ 1 w 127"/>
                <a:gd name="T29" fmla="*/ 0 h 231"/>
                <a:gd name="T30" fmla="*/ 127 w 127"/>
                <a:gd name="T3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" h="231">
                  <a:moveTo>
                    <a:pt x="127" y="0"/>
                  </a:moveTo>
                  <a:cubicBezTo>
                    <a:pt x="127" y="1"/>
                    <a:pt x="127" y="3"/>
                    <a:pt x="127" y="4"/>
                  </a:cubicBezTo>
                  <a:cubicBezTo>
                    <a:pt x="127" y="10"/>
                    <a:pt x="127" y="15"/>
                    <a:pt x="126" y="21"/>
                  </a:cubicBezTo>
                  <a:cubicBezTo>
                    <a:pt x="126" y="28"/>
                    <a:pt x="124" y="34"/>
                    <a:pt x="118" y="39"/>
                  </a:cubicBezTo>
                  <a:cubicBezTo>
                    <a:pt x="115" y="41"/>
                    <a:pt x="111" y="42"/>
                    <a:pt x="107" y="42"/>
                  </a:cubicBezTo>
                  <a:cubicBezTo>
                    <a:pt x="106" y="42"/>
                    <a:pt x="105" y="42"/>
                    <a:pt x="105" y="44"/>
                  </a:cubicBezTo>
                  <a:cubicBezTo>
                    <a:pt x="106" y="48"/>
                    <a:pt x="105" y="52"/>
                    <a:pt x="105" y="55"/>
                  </a:cubicBezTo>
                  <a:cubicBezTo>
                    <a:pt x="105" y="113"/>
                    <a:pt x="105" y="171"/>
                    <a:pt x="105" y="229"/>
                  </a:cubicBezTo>
                  <a:cubicBezTo>
                    <a:pt x="105" y="229"/>
                    <a:pt x="105" y="230"/>
                    <a:pt x="105" y="231"/>
                  </a:cubicBezTo>
                  <a:cubicBezTo>
                    <a:pt x="77" y="231"/>
                    <a:pt x="50" y="231"/>
                    <a:pt x="22" y="231"/>
                  </a:cubicBezTo>
                  <a:cubicBezTo>
                    <a:pt x="22" y="168"/>
                    <a:pt x="22" y="105"/>
                    <a:pt x="22" y="42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8" y="40"/>
                    <a:pt x="1" y="34"/>
                    <a:pt x="1" y="23"/>
                  </a:cubicBezTo>
                  <a:cubicBezTo>
                    <a:pt x="0" y="15"/>
                    <a:pt x="1" y="8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43" y="0"/>
                    <a:pt x="84" y="0"/>
                    <a:pt x="12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3">
            <a:extLst>
              <a:ext uri="{FF2B5EF4-FFF2-40B4-BE49-F238E27FC236}">
                <a16:creationId xmlns:a16="http://schemas.microsoft.com/office/drawing/2014/main" id="{B1000CA9-7683-401A-9B7A-366C7EF3D4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17310" y="5951886"/>
            <a:ext cx="309546" cy="141296"/>
            <a:chOff x="5792" y="3749"/>
            <a:chExt cx="195" cy="89"/>
          </a:xfrm>
        </p:grpSpPr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52FEF9E8-11D8-4398-B5F0-7187AA91D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" y="3788"/>
              <a:ext cx="5" cy="5"/>
            </a:xfrm>
            <a:custGeom>
              <a:avLst/>
              <a:gdLst>
                <a:gd name="T0" fmla="*/ 0 w 18"/>
                <a:gd name="T1" fmla="*/ 0 h 20"/>
                <a:gd name="T2" fmla="*/ 1 w 18"/>
                <a:gd name="T3" fmla="*/ 20 h 20"/>
                <a:gd name="T4" fmla="*/ 17 w 18"/>
                <a:gd name="T5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0">
                  <a:moveTo>
                    <a:pt x="0" y="0"/>
                  </a:moveTo>
                  <a:cubicBezTo>
                    <a:pt x="1" y="20"/>
                    <a:pt x="1" y="20"/>
                    <a:pt x="1" y="20"/>
                  </a:cubicBezTo>
                  <a:cubicBezTo>
                    <a:pt x="9" y="19"/>
                    <a:pt x="18" y="16"/>
                    <a:pt x="17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E22DF124-7FD5-4D83-91EE-D7F7B9BC4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7" y="3778"/>
              <a:ext cx="5" cy="4"/>
            </a:xfrm>
            <a:custGeom>
              <a:avLst/>
              <a:gdLst>
                <a:gd name="T0" fmla="*/ 0 w 15"/>
                <a:gd name="T1" fmla="*/ 7 h 15"/>
                <a:gd name="T2" fmla="*/ 14 w 15"/>
                <a:gd name="T3" fmla="*/ 15 h 15"/>
                <a:gd name="T4" fmla="*/ 15 w 15"/>
                <a:gd name="T5" fmla="*/ 0 h 15"/>
                <a:gd name="T6" fmla="*/ 0 w 15"/>
                <a:gd name="T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7"/>
                  </a:moveTo>
                  <a:cubicBezTo>
                    <a:pt x="0" y="10"/>
                    <a:pt x="0" y="13"/>
                    <a:pt x="14" y="1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" y="1"/>
                    <a:pt x="1" y="3"/>
                    <a:pt x="0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CC24F6C6-72CB-47AB-A456-B0BDD0ED2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2" y="3768"/>
              <a:ext cx="95" cy="44"/>
            </a:xfrm>
            <a:custGeom>
              <a:avLst/>
              <a:gdLst>
                <a:gd name="T0" fmla="*/ 308 w 308"/>
                <a:gd name="T1" fmla="*/ 0 h 164"/>
                <a:gd name="T2" fmla="*/ 57 w 308"/>
                <a:gd name="T3" fmla="*/ 0 h 164"/>
                <a:gd name="T4" fmla="*/ 51 w 308"/>
                <a:gd name="T5" fmla="*/ 4 h 164"/>
                <a:gd name="T6" fmla="*/ 0 w 308"/>
                <a:gd name="T7" fmla="*/ 155 h 164"/>
                <a:gd name="T8" fmla="*/ 1 w 308"/>
                <a:gd name="T9" fmla="*/ 161 h 164"/>
                <a:gd name="T10" fmla="*/ 6 w 308"/>
                <a:gd name="T11" fmla="*/ 164 h 164"/>
                <a:gd name="T12" fmla="*/ 294 w 308"/>
                <a:gd name="T13" fmla="*/ 164 h 164"/>
                <a:gd name="T14" fmla="*/ 282 w 308"/>
                <a:gd name="T15" fmla="*/ 96 h 164"/>
                <a:gd name="T16" fmla="*/ 308 w 308"/>
                <a:gd name="T17" fmla="*/ 0 h 164"/>
                <a:gd name="T18" fmla="*/ 218 w 308"/>
                <a:gd name="T19" fmla="*/ 116 h 164"/>
                <a:gd name="T20" fmla="*/ 218 w 308"/>
                <a:gd name="T21" fmla="*/ 126 h 164"/>
                <a:gd name="T22" fmla="*/ 205 w 308"/>
                <a:gd name="T23" fmla="*/ 135 h 164"/>
                <a:gd name="T24" fmla="*/ 191 w 308"/>
                <a:gd name="T25" fmla="*/ 126 h 164"/>
                <a:gd name="T26" fmla="*/ 192 w 308"/>
                <a:gd name="T27" fmla="*/ 116 h 164"/>
                <a:gd name="T28" fmla="*/ 141 w 308"/>
                <a:gd name="T29" fmla="*/ 104 h 164"/>
                <a:gd name="T30" fmla="*/ 134 w 308"/>
                <a:gd name="T31" fmla="*/ 94 h 164"/>
                <a:gd name="T32" fmla="*/ 152 w 308"/>
                <a:gd name="T33" fmla="*/ 84 h 164"/>
                <a:gd name="T34" fmla="*/ 162 w 308"/>
                <a:gd name="T35" fmla="*/ 86 h 164"/>
                <a:gd name="T36" fmla="*/ 192 w 308"/>
                <a:gd name="T37" fmla="*/ 94 h 164"/>
                <a:gd name="T38" fmla="*/ 193 w 308"/>
                <a:gd name="T39" fmla="*/ 71 h 164"/>
                <a:gd name="T40" fmla="*/ 149 w 308"/>
                <a:gd name="T41" fmla="*/ 45 h 164"/>
                <a:gd name="T42" fmla="*/ 194 w 308"/>
                <a:gd name="T43" fmla="*/ 24 h 164"/>
                <a:gd name="T44" fmla="*/ 194 w 308"/>
                <a:gd name="T45" fmla="*/ 23 h 164"/>
                <a:gd name="T46" fmla="*/ 204 w 308"/>
                <a:gd name="T47" fmla="*/ 18 h 164"/>
                <a:gd name="T48" fmla="*/ 214 w 308"/>
                <a:gd name="T49" fmla="*/ 23 h 164"/>
                <a:gd name="T50" fmla="*/ 214 w 308"/>
                <a:gd name="T51" fmla="*/ 24 h 164"/>
                <a:gd name="T52" fmla="*/ 242 w 308"/>
                <a:gd name="T53" fmla="*/ 29 h 164"/>
                <a:gd name="T54" fmla="*/ 250 w 308"/>
                <a:gd name="T55" fmla="*/ 35 h 164"/>
                <a:gd name="T56" fmla="*/ 237 w 308"/>
                <a:gd name="T57" fmla="*/ 43 h 164"/>
                <a:gd name="T58" fmla="*/ 230 w 308"/>
                <a:gd name="T59" fmla="*/ 42 h 164"/>
                <a:gd name="T60" fmla="*/ 214 w 308"/>
                <a:gd name="T61" fmla="*/ 38 h 164"/>
                <a:gd name="T62" fmla="*/ 215 w 308"/>
                <a:gd name="T63" fmla="*/ 55 h 164"/>
                <a:gd name="T64" fmla="*/ 267 w 308"/>
                <a:gd name="T65" fmla="*/ 84 h 164"/>
                <a:gd name="T66" fmla="*/ 218 w 308"/>
                <a:gd name="T67" fmla="*/ 11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8" h="164">
                  <a:moveTo>
                    <a:pt x="308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52" y="1"/>
                    <a:pt x="51" y="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57"/>
                    <a:pt x="0" y="159"/>
                    <a:pt x="1" y="161"/>
                  </a:cubicBezTo>
                  <a:cubicBezTo>
                    <a:pt x="2" y="162"/>
                    <a:pt x="4" y="164"/>
                    <a:pt x="6" y="164"/>
                  </a:cubicBezTo>
                  <a:cubicBezTo>
                    <a:pt x="294" y="164"/>
                    <a:pt x="294" y="164"/>
                    <a:pt x="294" y="164"/>
                  </a:cubicBezTo>
                  <a:cubicBezTo>
                    <a:pt x="286" y="143"/>
                    <a:pt x="282" y="120"/>
                    <a:pt x="282" y="96"/>
                  </a:cubicBezTo>
                  <a:cubicBezTo>
                    <a:pt x="282" y="61"/>
                    <a:pt x="291" y="28"/>
                    <a:pt x="308" y="0"/>
                  </a:cubicBezTo>
                  <a:close/>
                  <a:moveTo>
                    <a:pt x="218" y="116"/>
                  </a:moveTo>
                  <a:cubicBezTo>
                    <a:pt x="218" y="126"/>
                    <a:pt x="218" y="126"/>
                    <a:pt x="218" y="126"/>
                  </a:cubicBezTo>
                  <a:cubicBezTo>
                    <a:pt x="218" y="131"/>
                    <a:pt x="213" y="135"/>
                    <a:pt x="205" y="135"/>
                  </a:cubicBezTo>
                  <a:cubicBezTo>
                    <a:pt x="197" y="135"/>
                    <a:pt x="191" y="131"/>
                    <a:pt x="191" y="126"/>
                  </a:cubicBezTo>
                  <a:cubicBezTo>
                    <a:pt x="192" y="116"/>
                    <a:pt x="192" y="116"/>
                    <a:pt x="192" y="116"/>
                  </a:cubicBezTo>
                  <a:cubicBezTo>
                    <a:pt x="174" y="114"/>
                    <a:pt x="155" y="110"/>
                    <a:pt x="141" y="104"/>
                  </a:cubicBezTo>
                  <a:cubicBezTo>
                    <a:pt x="136" y="102"/>
                    <a:pt x="133" y="98"/>
                    <a:pt x="134" y="94"/>
                  </a:cubicBezTo>
                  <a:cubicBezTo>
                    <a:pt x="135" y="88"/>
                    <a:pt x="143" y="84"/>
                    <a:pt x="152" y="84"/>
                  </a:cubicBezTo>
                  <a:cubicBezTo>
                    <a:pt x="155" y="84"/>
                    <a:pt x="159" y="85"/>
                    <a:pt x="162" y="86"/>
                  </a:cubicBezTo>
                  <a:cubicBezTo>
                    <a:pt x="171" y="90"/>
                    <a:pt x="176" y="93"/>
                    <a:pt x="192" y="94"/>
                  </a:cubicBezTo>
                  <a:cubicBezTo>
                    <a:pt x="193" y="71"/>
                    <a:pt x="193" y="71"/>
                    <a:pt x="193" y="71"/>
                  </a:cubicBezTo>
                  <a:cubicBezTo>
                    <a:pt x="163" y="66"/>
                    <a:pt x="147" y="59"/>
                    <a:pt x="149" y="45"/>
                  </a:cubicBezTo>
                  <a:cubicBezTo>
                    <a:pt x="152" y="33"/>
                    <a:pt x="168" y="26"/>
                    <a:pt x="194" y="24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0"/>
                    <a:pt x="198" y="18"/>
                    <a:pt x="204" y="18"/>
                  </a:cubicBezTo>
                  <a:cubicBezTo>
                    <a:pt x="209" y="18"/>
                    <a:pt x="213" y="20"/>
                    <a:pt x="214" y="23"/>
                  </a:cubicBezTo>
                  <a:cubicBezTo>
                    <a:pt x="214" y="24"/>
                    <a:pt x="214" y="24"/>
                    <a:pt x="214" y="24"/>
                  </a:cubicBezTo>
                  <a:cubicBezTo>
                    <a:pt x="220" y="25"/>
                    <a:pt x="233" y="27"/>
                    <a:pt x="242" y="29"/>
                  </a:cubicBezTo>
                  <a:cubicBezTo>
                    <a:pt x="246" y="30"/>
                    <a:pt x="249" y="32"/>
                    <a:pt x="250" y="35"/>
                  </a:cubicBezTo>
                  <a:cubicBezTo>
                    <a:pt x="250" y="40"/>
                    <a:pt x="245" y="43"/>
                    <a:pt x="237" y="43"/>
                  </a:cubicBezTo>
                  <a:cubicBezTo>
                    <a:pt x="234" y="43"/>
                    <a:pt x="233" y="42"/>
                    <a:pt x="230" y="42"/>
                  </a:cubicBezTo>
                  <a:cubicBezTo>
                    <a:pt x="225" y="40"/>
                    <a:pt x="214" y="39"/>
                    <a:pt x="214" y="38"/>
                  </a:cubicBezTo>
                  <a:cubicBezTo>
                    <a:pt x="215" y="55"/>
                    <a:pt x="215" y="55"/>
                    <a:pt x="215" y="55"/>
                  </a:cubicBezTo>
                  <a:cubicBezTo>
                    <a:pt x="245" y="60"/>
                    <a:pt x="264" y="68"/>
                    <a:pt x="267" y="84"/>
                  </a:cubicBezTo>
                  <a:cubicBezTo>
                    <a:pt x="271" y="101"/>
                    <a:pt x="252" y="113"/>
                    <a:pt x="218" y="1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7DC17E7A-FBAD-44E5-9C1A-6C7292AF6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" y="3816"/>
              <a:ext cx="97" cy="9"/>
            </a:xfrm>
            <a:custGeom>
              <a:avLst/>
              <a:gdLst>
                <a:gd name="T0" fmla="*/ 8 w 315"/>
                <a:gd name="T1" fmla="*/ 0 h 31"/>
                <a:gd name="T2" fmla="*/ 1 w 315"/>
                <a:gd name="T3" fmla="*/ 23 h 31"/>
                <a:gd name="T4" fmla="*/ 2 w 315"/>
                <a:gd name="T5" fmla="*/ 28 h 31"/>
                <a:gd name="T6" fmla="*/ 7 w 315"/>
                <a:gd name="T7" fmla="*/ 31 h 31"/>
                <a:gd name="T8" fmla="*/ 315 w 315"/>
                <a:gd name="T9" fmla="*/ 31 h 31"/>
                <a:gd name="T10" fmla="*/ 295 w 315"/>
                <a:gd name="T11" fmla="*/ 0 h 31"/>
                <a:gd name="T12" fmla="*/ 8 w 315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31">
                  <a:moveTo>
                    <a:pt x="8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0" y="27"/>
                    <a:pt x="2" y="28"/>
                  </a:cubicBezTo>
                  <a:cubicBezTo>
                    <a:pt x="3" y="30"/>
                    <a:pt x="5" y="31"/>
                    <a:pt x="7" y="31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07" y="21"/>
                    <a:pt x="301" y="11"/>
                    <a:pt x="295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9B290E43-06D3-445E-AA27-D382C7A22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6" y="3829"/>
              <a:ext cx="111" cy="9"/>
            </a:xfrm>
            <a:custGeom>
              <a:avLst/>
              <a:gdLst>
                <a:gd name="T0" fmla="*/ 323 w 363"/>
                <a:gd name="T1" fmla="*/ 0 h 32"/>
                <a:gd name="T2" fmla="*/ 8 w 363"/>
                <a:gd name="T3" fmla="*/ 0 h 32"/>
                <a:gd name="T4" fmla="*/ 1 w 363"/>
                <a:gd name="T5" fmla="*/ 23 h 32"/>
                <a:gd name="T6" fmla="*/ 2 w 363"/>
                <a:gd name="T7" fmla="*/ 29 h 32"/>
                <a:gd name="T8" fmla="*/ 7 w 363"/>
                <a:gd name="T9" fmla="*/ 32 h 32"/>
                <a:gd name="T10" fmla="*/ 363 w 363"/>
                <a:gd name="T11" fmla="*/ 32 h 32"/>
                <a:gd name="T12" fmla="*/ 323 w 363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3" h="32">
                  <a:moveTo>
                    <a:pt x="32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1" y="27"/>
                    <a:pt x="2" y="29"/>
                  </a:cubicBezTo>
                  <a:cubicBezTo>
                    <a:pt x="3" y="31"/>
                    <a:pt x="5" y="32"/>
                    <a:pt x="7" y="32"/>
                  </a:cubicBezTo>
                  <a:cubicBezTo>
                    <a:pt x="363" y="32"/>
                    <a:pt x="363" y="32"/>
                    <a:pt x="363" y="32"/>
                  </a:cubicBezTo>
                  <a:cubicBezTo>
                    <a:pt x="348" y="23"/>
                    <a:pt x="334" y="12"/>
                    <a:pt x="32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EA307ACB-EEB1-4258-955C-85CCDF07CE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8" y="3749"/>
              <a:ext cx="99" cy="89"/>
            </a:xfrm>
            <a:custGeom>
              <a:avLst/>
              <a:gdLst>
                <a:gd name="T0" fmla="*/ 162 w 325"/>
                <a:gd name="T1" fmla="*/ 0 h 326"/>
                <a:gd name="T2" fmla="*/ 0 w 325"/>
                <a:gd name="T3" fmla="*/ 163 h 326"/>
                <a:gd name="T4" fmla="*/ 162 w 325"/>
                <a:gd name="T5" fmla="*/ 326 h 326"/>
                <a:gd name="T6" fmla="*/ 325 w 325"/>
                <a:gd name="T7" fmla="*/ 163 h 326"/>
                <a:gd name="T8" fmla="*/ 162 w 325"/>
                <a:gd name="T9" fmla="*/ 0 h 326"/>
                <a:gd name="T10" fmla="*/ 221 w 325"/>
                <a:gd name="T11" fmla="*/ 219 h 326"/>
                <a:gd name="T12" fmla="*/ 172 w 325"/>
                <a:gd name="T13" fmla="*/ 244 h 326"/>
                <a:gd name="T14" fmla="*/ 106 w 325"/>
                <a:gd name="T15" fmla="*/ 193 h 326"/>
                <a:gd name="T16" fmla="*/ 96 w 325"/>
                <a:gd name="T17" fmla="*/ 193 h 326"/>
                <a:gd name="T18" fmla="*/ 85 w 325"/>
                <a:gd name="T19" fmla="*/ 182 h 326"/>
                <a:gd name="T20" fmla="*/ 96 w 325"/>
                <a:gd name="T21" fmla="*/ 171 h 326"/>
                <a:gd name="T22" fmla="*/ 103 w 325"/>
                <a:gd name="T23" fmla="*/ 171 h 326"/>
                <a:gd name="T24" fmla="*/ 102 w 325"/>
                <a:gd name="T25" fmla="*/ 164 h 326"/>
                <a:gd name="T26" fmla="*/ 103 w 325"/>
                <a:gd name="T27" fmla="*/ 156 h 326"/>
                <a:gd name="T28" fmla="*/ 96 w 325"/>
                <a:gd name="T29" fmla="*/ 156 h 326"/>
                <a:gd name="T30" fmla="*/ 85 w 325"/>
                <a:gd name="T31" fmla="*/ 145 h 326"/>
                <a:gd name="T32" fmla="*/ 96 w 325"/>
                <a:gd name="T33" fmla="*/ 134 h 326"/>
                <a:gd name="T34" fmla="*/ 107 w 325"/>
                <a:gd name="T35" fmla="*/ 134 h 326"/>
                <a:gd name="T36" fmla="*/ 171 w 325"/>
                <a:gd name="T37" fmla="*/ 83 h 326"/>
                <a:gd name="T38" fmla="*/ 220 w 325"/>
                <a:gd name="T39" fmla="*/ 103 h 326"/>
                <a:gd name="T40" fmla="*/ 224 w 325"/>
                <a:gd name="T41" fmla="*/ 115 h 326"/>
                <a:gd name="T42" fmla="*/ 208 w 325"/>
                <a:gd name="T43" fmla="*/ 131 h 326"/>
                <a:gd name="T44" fmla="*/ 196 w 325"/>
                <a:gd name="T45" fmla="*/ 126 h 326"/>
                <a:gd name="T46" fmla="*/ 171 w 325"/>
                <a:gd name="T47" fmla="*/ 114 h 326"/>
                <a:gd name="T48" fmla="*/ 142 w 325"/>
                <a:gd name="T49" fmla="*/ 134 h 326"/>
                <a:gd name="T50" fmla="*/ 173 w 325"/>
                <a:gd name="T51" fmla="*/ 134 h 326"/>
                <a:gd name="T52" fmla="*/ 185 w 325"/>
                <a:gd name="T53" fmla="*/ 145 h 326"/>
                <a:gd name="T54" fmla="*/ 173 w 325"/>
                <a:gd name="T55" fmla="*/ 156 h 326"/>
                <a:gd name="T56" fmla="*/ 137 w 325"/>
                <a:gd name="T57" fmla="*/ 156 h 326"/>
                <a:gd name="T58" fmla="*/ 137 w 325"/>
                <a:gd name="T59" fmla="*/ 164 h 326"/>
                <a:gd name="T60" fmla="*/ 137 w 325"/>
                <a:gd name="T61" fmla="*/ 171 h 326"/>
                <a:gd name="T62" fmla="*/ 173 w 325"/>
                <a:gd name="T63" fmla="*/ 171 h 326"/>
                <a:gd name="T64" fmla="*/ 185 w 325"/>
                <a:gd name="T65" fmla="*/ 182 h 326"/>
                <a:gd name="T66" fmla="*/ 173 w 325"/>
                <a:gd name="T67" fmla="*/ 193 h 326"/>
                <a:gd name="T68" fmla="*/ 142 w 325"/>
                <a:gd name="T69" fmla="*/ 193 h 326"/>
                <a:gd name="T70" fmla="*/ 172 w 325"/>
                <a:gd name="T71" fmla="*/ 213 h 326"/>
                <a:gd name="T72" fmla="*/ 198 w 325"/>
                <a:gd name="T73" fmla="*/ 199 h 326"/>
                <a:gd name="T74" fmla="*/ 209 w 325"/>
                <a:gd name="T75" fmla="*/ 194 h 326"/>
                <a:gd name="T76" fmla="*/ 225 w 325"/>
                <a:gd name="T77" fmla="*/ 209 h 326"/>
                <a:gd name="T78" fmla="*/ 221 w 325"/>
                <a:gd name="T79" fmla="*/ 21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5" h="326">
                  <a:moveTo>
                    <a:pt x="162" y="0"/>
                  </a:moveTo>
                  <a:cubicBezTo>
                    <a:pt x="72" y="0"/>
                    <a:pt x="0" y="73"/>
                    <a:pt x="0" y="163"/>
                  </a:cubicBezTo>
                  <a:cubicBezTo>
                    <a:pt x="0" y="253"/>
                    <a:pt x="72" y="326"/>
                    <a:pt x="162" y="326"/>
                  </a:cubicBezTo>
                  <a:cubicBezTo>
                    <a:pt x="252" y="326"/>
                    <a:pt x="325" y="253"/>
                    <a:pt x="325" y="163"/>
                  </a:cubicBezTo>
                  <a:cubicBezTo>
                    <a:pt x="325" y="73"/>
                    <a:pt x="252" y="0"/>
                    <a:pt x="162" y="0"/>
                  </a:cubicBezTo>
                  <a:close/>
                  <a:moveTo>
                    <a:pt x="221" y="219"/>
                  </a:moveTo>
                  <a:cubicBezTo>
                    <a:pt x="209" y="234"/>
                    <a:pt x="194" y="244"/>
                    <a:pt x="172" y="244"/>
                  </a:cubicBezTo>
                  <a:cubicBezTo>
                    <a:pt x="138" y="244"/>
                    <a:pt x="115" y="223"/>
                    <a:pt x="106" y="193"/>
                  </a:cubicBezTo>
                  <a:cubicBezTo>
                    <a:pt x="96" y="193"/>
                    <a:pt x="96" y="193"/>
                    <a:pt x="96" y="193"/>
                  </a:cubicBezTo>
                  <a:cubicBezTo>
                    <a:pt x="90" y="193"/>
                    <a:pt x="85" y="188"/>
                    <a:pt x="85" y="182"/>
                  </a:cubicBezTo>
                  <a:cubicBezTo>
                    <a:pt x="85" y="176"/>
                    <a:pt x="90" y="171"/>
                    <a:pt x="96" y="171"/>
                  </a:cubicBezTo>
                  <a:cubicBezTo>
                    <a:pt x="103" y="171"/>
                    <a:pt x="103" y="171"/>
                    <a:pt x="103" y="171"/>
                  </a:cubicBezTo>
                  <a:cubicBezTo>
                    <a:pt x="102" y="171"/>
                    <a:pt x="102" y="166"/>
                    <a:pt x="102" y="164"/>
                  </a:cubicBezTo>
                  <a:cubicBezTo>
                    <a:pt x="102" y="161"/>
                    <a:pt x="102" y="156"/>
                    <a:pt x="103" y="156"/>
                  </a:cubicBezTo>
                  <a:cubicBezTo>
                    <a:pt x="96" y="156"/>
                    <a:pt x="96" y="156"/>
                    <a:pt x="96" y="156"/>
                  </a:cubicBezTo>
                  <a:cubicBezTo>
                    <a:pt x="90" y="156"/>
                    <a:pt x="85" y="151"/>
                    <a:pt x="85" y="145"/>
                  </a:cubicBezTo>
                  <a:cubicBezTo>
                    <a:pt x="85" y="139"/>
                    <a:pt x="90" y="134"/>
                    <a:pt x="96" y="134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16" y="104"/>
                    <a:pt x="138" y="83"/>
                    <a:pt x="171" y="83"/>
                  </a:cubicBezTo>
                  <a:cubicBezTo>
                    <a:pt x="194" y="83"/>
                    <a:pt x="208" y="91"/>
                    <a:pt x="220" y="103"/>
                  </a:cubicBezTo>
                  <a:cubicBezTo>
                    <a:pt x="222" y="106"/>
                    <a:pt x="224" y="110"/>
                    <a:pt x="224" y="115"/>
                  </a:cubicBezTo>
                  <a:cubicBezTo>
                    <a:pt x="224" y="124"/>
                    <a:pt x="217" y="131"/>
                    <a:pt x="208" y="131"/>
                  </a:cubicBezTo>
                  <a:cubicBezTo>
                    <a:pt x="202" y="131"/>
                    <a:pt x="198" y="128"/>
                    <a:pt x="196" y="126"/>
                  </a:cubicBezTo>
                  <a:cubicBezTo>
                    <a:pt x="189" y="118"/>
                    <a:pt x="182" y="114"/>
                    <a:pt x="171" y="114"/>
                  </a:cubicBezTo>
                  <a:cubicBezTo>
                    <a:pt x="158" y="114"/>
                    <a:pt x="148" y="119"/>
                    <a:pt x="142" y="134"/>
                  </a:cubicBezTo>
                  <a:cubicBezTo>
                    <a:pt x="173" y="134"/>
                    <a:pt x="173" y="134"/>
                    <a:pt x="173" y="134"/>
                  </a:cubicBezTo>
                  <a:cubicBezTo>
                    <a:pt x="180" y="134"/>
                    <a:pt x="185" y="139"/>
                    <a:pt x="185" y="145"/>
                  </a:cubicBezTo>
                  <a:cubicBezTo>
                    <a:pt x="185" y="151"/>
                    <a:pt x="180" y="156"/>
                    <a:pt x="173" y="156"/>
                  </a:cubicBezTo>
                  <a:cubicBezTo>
                    <a:pt x="137" y="156"/>
                    <a:pt x="137" y="156"/>
                    <a:pt x="137" y="156"/>
                  </a:cubicBezTo>
                  <a:cubicBezTo>
                    <a:pt x="137" y="156"/>
                    <a:pt x="137" y="161"/>
                    <a:pt x="137" y="164"/>
                  </a:cubicBezTo>
                  <a:cubicBezTo>
                    <a:pt x="137" y="166"/>
                    <a:pt x="137" y="171"/>
                    <a:pt x="137" y="171"/>
                  </a:cubicBezTo>
                  <a:cubicBezTo>
                    <a:pt x="173" y="171"/>
                    <a:pt x="173" y="171"/>
                    <a:pt x="173" y="171"/>
                  </a:cubicBezTo>
                  <a:cubicBezTo>
                    <a:pt x="180" y="171"/>
                    <a:pt x="185" y="176"/>
                    <a:pt x="185" y="182"/>
                  </a:cubicBezTo>
                  <a:cubicBezTo>
                    <a:pt x="185" y="188"/>
                    <a:pt x="180" y="193"/>
                    <a:pt x="173" y="193"/>
                  </a:cubicBezTo>
                  <a:cubicBezTo>
                    <a:pt x="142" y="193"/>
                    <a:pt x="142" y="193"/>
                    <a:pt x="142" y="193"/>
                  </a:cubicBezTo>
                  <a:cubicBezTo>
                    <a:pt x="148" y="208"/>
                    <a:pt x="158" y="213"/>
                    <a:pt x="172" y="213"/>
                  </a:cubicBezTo>
                  <a:cubicBezTo>
                    <a:pt x="183" y="213"/>
                    <a:pt x="190" y="208"/>
                    <a:pt x="198" y="199"/>
                  </a:cubicBezTo>
                  <a:cubicBezTo>
                    <a:pt x="201" y="196"/>
                    <a:pt x="204" y="194"/>
                    <a:pt x="209" y="194"/>
                  </a:cubicBezTo>
                  <a:cubicBezTo>
                    <a:pt x="218" y="194"/>
                    <a:pt x="225" y="201"/>
                    <a:pt x="225" y="209"/>
                  </a:cubicBezTo>
                  <a:cubicBezTo>
                    <a:pt x="225" y="213"/>
                    <a:pt x="223" y="217"/>
                    <a:pt x="221" y="2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5BCA2F8B-279A-4429-B966-6A4192BF9365}"/>
              </a:ext>
            </a:extLst>
          </p:cNvPr>
          <p:cNvSpPr/>
          <p:nvPr/>
        </p:nvSpPr>
        <p:spPr>
          <a:xfrm>
            <a:off x="8968279" y="2337183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69A96C2A-4C08-4045-A98D-3CEFDA272A4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140068" y="2325749"/>
            <a:ext cx="389340" cy="389340"/>
          </a:xfrm>
          <a:prstGeom prst="rect">
            <a:avLst/>
          </a:prstGeom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E11535A9-65EA-4E71-84BA-3851148336B1}"/>
              </a:ext>
            </a:extLst>
          </p:cNvPr>
          <p:cNvSpPr txBox="1"/>
          <p:nvPr/>
        </p:nvSpPr>
        <p:spPr>
          <a:xfrm>
            <a:off x="8998482" y="2603362"/>
            <a:ext cx="672513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Achieving Climate Neutrality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1458D5C-E640-41B0-99DE-E786C81EE096}"/>
              </a:ext>
            </a:extLst>
          </p:cNvPr>
          <p:cNvSpPr/>
          <p:nvPr/>
        </p:nvSpPr>
        <p:spPr>
          <a:xfrm>
            <a:off x="9896553" y="2679295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C66D3F1-1F8C-41DF-AEF4-B770D003D747}"/>
              </a:ext>
            </a:extLst>
          </p:cNvPr>
          <p:cNvSpPr txBox="1"/>
          <p:nvPr/>
        </p:nvSpPr>
        <p:spPr>
          <a:xfrm>
            <a:off x="9868350" y="2962822"/>
            <a:ext cx="789324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A Zero Polluting Europe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1D2276A4-81A1-4219-ACCA-ABC12E782C3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10116080" y="2704479"/>
            <a:ext cx="293865" cy="293865"/>
          </a:xfrm>
          <a:prstGeom prst="rect">
            <a:avLst/>
          </a:prstGeom>
        </p:spPr>
      </p:pic>
      <p:sp>
        <p:nvSpPr>
          <p:cNvPr id="85" name="Oval 84">
            <a:extLst>
              <a:ext uri="{FF2B5EF4-FFF2-40B4-BE49-F238E27FC236}">
                <a16:creationId xmlns:a16="http://schemas.microsoft.com/office/drawing/2014/main" id="{0CACFEC5-39D6-41A6-AC5A-D62174906A08}"/>
              </a:ext>
            </a:extLst>
          </p:cNvPr>
          <p:cNvSpPr/>
          <p:nvPr/>
        </p:nvSpPr>
        <p:spPr>
          <a:xfrm>
            <a:off x="10285835" y="3590458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8E45A079-28EF-406F-B384-AFEC776C5E7D}"/>
              </a:ext>
            </a:extLst>
          </p:cNvPr>
          <p:cNvSpPr txBox="1"/>
          <p:nvPr/>
        </p:nvSpPr>
        <p:spPr>
          <a:xfrm>
            <a:off x="10218508" y="3798546"/>
            <a:ext cx="86757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Preserving Europe’s Natural Capital</a:t>
            </a: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88AFA9CA-B3A8-465B-8D27-AC72B6D8B05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10537547" y="3631637"/>
            <a:ext cx="229494" cy="229494"/>
          </a:xfrm>
          <a:prstGeom prst="rect">
            <a:avLst/>
          </a:prstGeom>
        </p:spPr>
      </p:pic>
      <p:sp>
        <p:nvSpPr>
          <p:cNvPr id="87" name="Oval 86">
            <a:extLst>
              <a:ext uri="{FF2B5EF4-FFF2-40B4-BE49-F238E27FC236}">
                <a16:creationId xmlns:a16="http://schemas.microsoft.com/office/drawing/2014/main" id="{31DC4599-F07E-4FD5-84DB-FB80EE63666D}"/>
              </a:ext>
            </a:extLst>
          </p:cNvPr>
          <p:cNvSpPr/>
          <p:nvPr/>
        </p:nvSpPr>
        <p:spPr>
          <a:xfrm>
            <a:off x="9973178" y="4568759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136BB51-1437-416A-8EB2-378165138212}"/>
              </a:ext>
            </a:extLst>
          </p:cNvPr>
          <p:cNvSpPr txBox="1"/>
          <p:nvPr/>
        </p:nvSpPr>
        <p:spPr>
          <a:xfrm>
            <a:off x="9985629" y="4921270"/>
            <a:ext cx="708017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Farm to Fork</a:t>
            </a: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C5666825-49EB-478C-9A46-410F219A9BEF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10144362" y="4604488"/>
            <a:ext cx="390551" cy="390551"/>
          </a:xfrm>
          <a:prstGeom prst="rect">
            <a:avLst/>
          </a:prstGeom>
        </p:spPr>
      </p:pic>
      <p:sp>
        <p:nvSpPr>
          <p:cNvPr id="92" name="Oval 91">
            <a:extLst>
              <a:ext uri="{FF2B5EF4-FFF2-40B4-BE49-F238E27FC236}">
                <a16:creationId xmlns:a16="http://schemas.microsoft.com/office/drawing/2014/main" id="{2939289F-D6B5-47C1-B314-FEADC42627B6}"/>
              </a:ext>
            </a:extLst>
          </p:cNvPr>
          <p:cNvSpPr/>
          <p:nvPr/>
        </p:nvSpPr>
        <p:spPr>
          <a:xfrm>
            <a:off x="8968279" y="4864401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4B585E72-53AA-4E6D-AC5F-5801B4858425}"/>
              </a:ext>
            </a:extLst>
          </p:cNvPr>
          <p:cNvSpPr txBox="1"/>
          <p:nvPr/>
        </p:nvSpPr>
        <p:spPr>
          <a:xfrm>
            <a:off x="8954619" y="5207490"/>
            <a:ext cx="760238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Sustainable Transport</a:t>
            </a: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4781991C-1225-4707-A74B-84A226D6DB62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9164536" y="4894074"/>
            <a:ext cx="340404" cy="340404"/>
          </a:xfrm>
          <a:prstGeom prst="rect">
            <a:avLst/>
          </a:prstGeom>
        </p:spPr>
      </p:pic>
      <p:sp>
        <p:nvSpPr>
          <p:cNvPr id="93" name="Oval 92">
            <a:extLst>
              <a:ext uri="{FF2B5EF4-FFF2-40B4-BE49-F238E27FC236}">
                <a16:creationId xmlns:a16="http://schemas.microsoft.com/office/drawing/2014/main" id="{9581A387-728E-4EB5-B8B3-4CCEB575E6AD}"/>
              </a:ext>
            </a:extLst>
          </p:cNvPr>
          <p:cNvSpPr/>
          <p:nvPr/>
        </p:nvSpPr>
        <p:spPr>
          <a:xfrm>
            <a:off x="7947206" y="4568759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BF0367D-8FB7-4C92-B410-665D960A21C7}"/>
              </a:ext>
            </a:extLst>
          </p:cNvPr>
          <p:cNvSpPr txBox="1"/>
          <p:nvPr/>
        </p:nvSpPr>
        <p:spPr>
          <a:xfrm>
            <a:off x="7926104" y="4791351"/>
            <a:ext cx="775123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 i="0">
                <a:solidFill>
                  <a:schemeClr val="accent2"/>
                </a:solidFill>
                <a:effectLst/>
                <a:latin typeface="+mj-lt"/>
              </a:defRPr>
            </a:lvl1pPr>
          </a:lstStyle>
          <a:p>
            <a:pPr algn="ctr"/>
            <a:r>
              <a:rPr lang="en-GB" sz="650" b="1" dirty="0"/>
              <a:t>Resource and Energy Efficient Buildings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0DB26D7-5618-46E6-9492-B0F7E92589DF}"/>
              </a:ext>
            </a:extLst>
          </p:cNvPr>
          <p:cNvGrpSpPr/>
          <p:nvPr/>
        </p:nvGrpSpPr>
        <p:grpSpPr>
          <a:xfrm>
            <a:off x="8152983" y="4566979"/>
            <a:ext cx="321365" cy="321365"/>
            <a:chOff x="0" y="0"/>
            <a:chExt cx="914400" cy="914400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B217CC9-AC08-4142-BE2D-FE4ECB19C32D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700" dirty="0">
                <a:latin typeface="+mj-lt"/>
              </a:endParaRP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65A0ECBA-47EB-4742-9CEC-65B903630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93507" y="119568"/>
              <a:ext cx="727385" cy="727385"/>
            </a:xfrm>
            <a:prstGeom prst="rect">
              <a:avLst/>
            </a:prstGeom>
          </p:spPr>
        </p:pic>
      </p:grpSp>
      <p:sp>
        <p:nvSpPr>
          <p:cNvPr id="94" name="Oval 93">
            <a:extLst>
              <a:ext uri="{FF2B5EF4-FFF2-40B4-BE49-F238E27FC236}">
                <a16:creationId xmlns:a16="http://schemas.microsoft.com/office/drawing/2014/main" id="{6672E426-30D4-446C-B28C-3DEDCE562088}"/>
              </a:ext>
            </a:extLst>
          </p:cNvPr>
          <p:cNvSpPr/>
          <p:nvPr/>
        </p:nvSpPr>
        <p:spPr>
          <a:xfrm>
            <a:off x="7671650" y="3590458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07C82FD-8FC4-4C87-84E5-BF78B0BECB6E}"/>
              </a:ext>
            </a:extLst>
          </p:cNvPr>
          <p:cNvSpPr txBox="1"/>
          <p:nvPr/>
        </p:nvSpPr>
        <p:spPr>
          <a:xfrm>
            <a:off x="7671650" y="3798546"/>
            <a:ext cx="732919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Transition to a Circular Economy</a:t>
            </a: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94074D93-5667-4723-88C2-20DACB2447D8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7929975" y="3644862"/>
            <a:ext cx="216269" cy="216269"/>
          </a:xfrm>
          <a:prstGeom prst="rect">
            <a:avLst/>
          </a:prstGeom>
        </p:spPr>
      </p:pic>
      <p:sp>
        <p:nvSpPr>
          <p:cNvPr id="96" name="Oval 95">
            <a:extLst>
              <a:ext uri="{FF2B5EF4-FFF2-40B4-BE49-F238E27FC236}">
                <a16:creationId xmlns:a16="http://schemas.microsoft.com/office/drawing/2014/main" id="{6CFEE697-CBB4-47D4-B7D3-84014B452CCC}"/>
              </a:ext>
            </a:extLst>
          </p:cNvPr>
          <p:cNvSpPr/>
          <p:nvPr/>
        </p:nvSpPr>
        <p:spPr>
          <a:xfrm>
            <a:off x="7988174" y="2679295"/>
            <a:ext cx="732919" cy="732919"/>
          </a:xfrm>
          <a:prstGeom prst="ellipse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14441936-C421-42C7-8502-54CBF45B512F}"/>
              </a:ext>
            </a:extLst>
          </p:cNvPr>
          <p:cNvSpPr txBox="1"/>
          <p:nvPr/>
        </p:nvSpPr>
        <p:spPr>
          <a:xfrm>
            <a:off x="7962624" y="2962822"/>
            <a:ext cx="784018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700" b="1" i="0">
                <a:solidFill>
                  <a:schemeClr val="accent2"/>
                </a:solidFill>
                <a:effectLst/>
                <a:latin typeface="Gotham Rounded Bold" panose="02000000000000000000"/>
              </a:defRPr>
            </a:lvl1pPr>
          </a:lstStyle>
          <a:p>
            <a:pPr algn="ctr"/>
            <a:r>
              <a:rPr lang="en-GB" sz="650" dirty="0">
                <a:latin typeface="+mj-lt"/>
              </a:rPr>
              <a:t>Clean &amp; Affordable Energy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3BB364C7-2823-4F85-AABF-E6427C2C17E7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8216261" y="2721600"/>
            <a:ext cx="276744" cy="27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75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2AB0AA1-E62F-4C92-B49F-22F8BE742B11}"/>
              </a:ext>
            </a:extLst>
          </p:cNvPr>
          <p:cNvSpPr/>
          <p:nvPr/>
        </p:nvSpPr>
        <p:spPr>
          <a:xfrm>
            <a:off x="315312" y="4606173"/>
            <a:ext cx="11708524" cy="1183714"/>
          </a:xfrm>
          <a:prstGeom prst="rect">
            <a:avLst/>
          </a:prstGeom>
          <a:solidFill>
            <a:srgbClr val="FFE7DD"/>
          </a:solidFill>
          <a:ln>
            <a:solidFill>
              <a:srgbClr val="FF88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20CB01-E22E-40C8-9BAF-2E8F6782BB8B}"/>
              </a:ext>
            </a:extLst>
          </p:cNvPr>
          <p:cNvSpPr/>
          <p:nvPr/>
        </p:nvSpPr>
        <p:spPr>
          <a:xfrm>
            <a:off x="315312" y="3293036"/>
            <a:ext cx="11708524" cy="1183714"/>
          </a:xfrm>
          <a:prstGeom prst="rect">
            <a:avLst/>
          </a:prstGeom>
          <a:solidFill>
            <a:srgbClr val="CED6E3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3E6B55-A16A-482C-88ED-B8607F80F686}"/>
              </a:ext>
            </a:extLst>
          </p:cNvPr>
          <p:cNvSpPr/>
          <p:nvPr/>
        </p:nvSpPr>
        <p:spPr>
          <a:xfrm>
            <a:off x="325822" y="1681654"/>
            <a:ext cx="11708524" cy="1481959"/>
          </a:xfrm>
          <a:prstGeom prst="rect">
            <a:avLst/>
          </a:prstGeom>
          <a:solidFill>
            <a:srgbClr val="EFF7EA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397C5F-8A74-4D06-A0B8-033C34A43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toder og værktøjer til at sikre den grønne omstilli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359271-BC88-459F-BEA6-063BDDF0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b="1" dirty="0"/>
              <a:t>CO</a:t>
            </a:r>
            <a:r>
              <a:rPr lang="da-DK" b="1" baseline="-25000" dirty="0"/>
              <a:t>2</a:t>
            </a:r>
            <a:r>
              <a:rPr lang="da-DK" b="1" dirty="0"/>
              <a:t>-fodaftryk beregninger </a:t>
            </a:r>
          </a:p>
          <a:p>
            <a:r>
              <a:rPr lang="da-DK" dirty="0"/>
              <a:t>Miljøvurderinger igennem </a:t>
            </a:r>
            <a:r>
              <a:rPr lang="da-DK" b="1" dirty="0"/>
              <a:t>Livcyklusvurderinger</a:t>
            </a:r>
          </a:p>
          <a:p>
            <a:r>
              <a:rPr lang="da-DK" dirty="0" err="1"/>
              <a:t>Environmental</a:t>
            </a:r>
            <a:r>
              <a:rPr lang="da-DK" dirty="0"/>
              <a:t> Product </a:t>
            </a:r>
            <a:r>
              <a:rPr lang="da-DK" dirty="0" err="1"/>
              <a:t>Declarations</a:t>
            </a:r>
            <a:r>
              <a:rPr lang="da-DK" dirty="0"/>
              <a:t> (</a:t>
            </a:r>
            <a:r>
              <a:rPr lang="da-DK" dirty="0" err="1"/>
              <a:t>EPDer</a:t>
            </a:r>
            <a:r>
              <a:rPr lang="da-DK" dirty="0"/>
              <a:t>)</a:t>
            </a:r>
          </a:p>
          <a:p>
            <a:r>
              <a:rPr lang="da-DK" dirty="0"/>
              <a:t>….</a:t>
            </a:r>
          </a:p>
          <a:p>
            <a:endParaRPr lang="da-DK" dirty="0"/>
          </a:p>
          <a:p>
            <a:r>
              <a:rPr lang="da-DK" dirty="0" err="1"/>
              <a:t>Multi</a:t>
            </a:r>
            <a:r>
              <a:rPr lang="da-DK" dirty="0"/>
              <a:t>-kriterier analyser</a:t>
            </a:r>
          </a:p>
          <a:p>
            <a:r>
              <a:rPr lang="da-DK" dirty="0" err="1"/>
              <a:t>Cost</a:t>
            </a:r>
            <a:r>
              <a:rPr lang="da-DK" dirty="0"/>
              <a:t>-Benefit Analyser </a:t>
            </a:r>
          </a:p>
          <a:p>
            <a:r>
              <a:rPr lang="da-DK" dirty="0"/>
              <a:t>…</a:t>
            </a:r>
          </a:p>
          <a:p>
            <a:pPr marL="0" indent="0">
              <a:buNone/>
            </a:pPr>
            <a:endParaRPr lang="da-DK" dirty="0"/>
          </a:p>
          <a:p>
            <a:r>
              <a:rPr lang="da-DK" dirty="0"/>
              <a:t>Hjælp med at definere bæredygtighed strategier</a:t>
            </a:r>
          </a:p>
          <a:p>
            <a:r>
              <a:rPr lang="da-DK" dirty="0"/>
              <a:t>SDG analyse</a:t>
            </a:r>
          </a:p>
          <a:p>
            <a:r>
              <a:rPr lang="da-DK" b="1" dirty="0"/>
              <a:t>EU-</a:t>
            </a:r>
            <a:r>
              <a:rPr lang="da-DK" b="1" dirty="0" err="1"/>
              <a:t>taxonomy</a:t>
            </a:r>
            <a:r>
              <a:rPr lang="da-DK" b="1" dirty="0"/>
              <a:t> </a:t>
            </a:r>
            <a:r>
              <a:rPr lang="da-DK" b="1" dirty="0" err="1"/>
              <a:t>reporting</a:t>
            </a:r>
            <a:endParaRPr lang="da-DK" b="1" dirty="0"/>
          </a:p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2356FB-56D6-480A-85B0-274FE0C12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7" name="Picture 1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7E7A763-9774-4CA0-82BB-0D1FF1A294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810" t="31664" r="15673" b="22464"/>
          <a:stretch/>
        </p:blipFill>
        <p:spPr>
          <a:xfrm>
            <a:off x="6415704" y="2671292"/>
            <a:ext cx="5317124" cy="230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639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4466982-CC9E-7E72-A459-E2CC61A5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sz="2000" dirty="0"/>
              <a:t>Reduktionsmål uden en robust kvantificering af baseline miljøpåvirkninger er ikke effektive</a:t>
            </a:r>
            <a:endParaRPr lang="en-US" sz="2000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B1CCBCD-61A6-456C-8780-16E7DB9BCE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3" y="1592263"/>
            <a:ext cx="7524000" cy="3724375"/>
          </a:xfrm>
          <a:noFill/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AE1F41-6726-CBA7-D431-429F9C75C1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20504" y="654050"/>
            <a:ext cx="3211693" cy="5470246"/>
          </a:xfrm>
        </p:spPr>
        <p:txBody>
          <a:bodyPr/>
          <a:lstStyle/>
          <a:p>
            <a:r>
              <a:rPr lang="en-US" dirty="0" err="1"/>
              <a:t>Seks</a:t>
            </a:r>
            <a:r>
              <a:rPr lang="en-US" dirty="0"/>
              <a:t> </a:t>
            </a:r>
            <a:r>
              <a:rPr lang="en-US" dirty="0" err="1"/>
              <a:t>forskellige</a:t>
            </a:r>
            <a:r>
              <a:rPr lang="en-US" dirty="0"/>
              <a:t> </a:t>
            </a:r>
            <a:r>
              <a:rPr lang="en-US" dirty="0" err="1"/>
              <a:t>måder</a:t>
            </a:r>
            <a:r>
              <a:rPr lang="en-US" dirty="0"/>
              <a:t> at </a:t>
            </a:r>
            <a:r>
              <a:rPr lang="en-US" dirty="0" err="1"/>
              <a:t>opgøre</a:t>
            </a:r>
            <a:r>
              <a:rPr lang="en-US" dirty="0"/>
              <a:t> CO2-ækvivalenter </a:t>
            </a:r>
          </a:p>
          <a:p>
            <a:endParaRPr lang="en-US" dirty="0"/>
          </a:p>
          <a:p>
            <a:r>
              <a:rPr lang="en-US" dirty="0" err="1"/>
              <a:t>Detter</a:t>
            </a:r>
            <a:r>
              <a:rPr lang="en-US" dirty="0"/>
              <a:t> </a:t>
            </a:r>
            <a:r>
              <a:rPr lang="en-US" dirty="0" err="1"/>
              <a:t>afhænger</a:t>
            </a:r>
            <a:r>
              <a:rPr lang="en-US" dirty="0"/>
              <a:t> </a:t>
            </a:r>
            <a:r>
              <a:rPr lang="en-US" dirty="0" err="1"/>
              <a:t>f.eks</a:t>
            </a:r>
            <a:r>
              <a:rPr lang="en-US" dirty="0"/>
              <a:t>.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hvilke</a:t>
            </a:r>
            <a:r>
              <a:rPr lang="en-US" dirty="0"/>
              <a:t> </a:t>
            </a:r>
            <a:r>
              <a:rPr lang="en-US" dirty="0" err="1"/>
              <a:t>metoder</a:t>
            </a:r>
            <a:r>
              <a:rPr lang="en-US" dirty="0"/>
              <a:t>, </a:t>
            </a:r>
            <a:r>
              <a:rPr lang="en-US" dirty="0" err="1"/>
              <a:t>faktorer</a:t>
            </a:r>
            <a:r>
              <a:rPr lang="en-US" dirty="0"/>
              <a:t> for </a:t>
            </a:r>
            <a:r>
              <a:rPr lang="en-US" dirty="0" err="1"/>
              <a:t>el</a:t>
            </a:r>
            <a:r>
              <a:rPr lang="en-US" dirty="0"/>
              <a:t>-mix, N</a:t>
            </a:r>
            <a:r>
              <a:rPr lang="en-US" baseline="-25000" dirty="0"/>
              <a:t>2</a:t>
            </a:r>
            <a:r>
              <a:rPr lang="en-US" dirty="0"/>
              <a:t>O </a:t>
            </a:r>
            <a:r>
              <a:rPr lang="en-US" dirty="0" err="1"/>
              <a:t>emissioner</a:t>
            </a:r>
            <a:r>
              <a:rPr lang="en-US" dirty="0"/>
              <a:t> vi burger</a:t>
            </a:r>
          </a:p>
          <a:p>
            <a:endParaRPr lang="en-US" dirty="0"/>
          </a:p>
          <a:p>
            <a:r>
              <a:rPr lang="en-US" dirty="0" err="1"/>
              <a:t>Standardisering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gælde</a:t>
            </a:r>
            <a:r>
              <a:rPr lang="en-US" dirty="0"/>
              <a:t> for </a:t>
            </a:r>
            <a:r>
              <a:rPr lang="en-US" dirty="0" err="1"/>
              <a:t>hvordan</a:t>
            </a:r>
            <a:r>
              <a:rPr lang="en-US" dirty="0"/>
              <a:t> vi </a:t>
            </a:r>
            <a:r>
              <a:rPr lang="en-US" dirty="0" err="1"/>
              <a:t>bereggner</a:t>
            </a:r>
            <a:r>
              <a:rPr lang="en-US" dirty="0"/>
              <a:t> de </a:t>
            </a:r>
            <a:r>
              <a:rPr lang="en-US" dirty="0" err="1"/>
              <a:t>andre</a:t>
            </a:r>
            <a:r>
              <a:rPr lang="en-US" dirty="0"/>
              <a:t> 14 </a:t>
            </a:r>
            <a:r>
              <a:rPr lang="en-US" dirty="0" err="1"/>
              <a:t>miljø</a:t>
            </a:r>
            <a:r>
              <a:rPr lang="en-US" dirty="0"/>
              <a:t> LCA </a:t>
            </a:r>
            <a:r>
              <a:rPr lang="en-US" dirty="0" err="1"/>
              <a:t>kategorier</a:t>
            </a:r>
            <a:r>
              <a:rPr lang="en-US" dirty="0"/>
              <a:t>, </a:t>
            </a:r>
            <a:r>
              <a:rPr lang="en-US" dirty="0" err="1"/>
              <a:t>ligesom</a:t>
            </a:r>
            <a:r>
              <a:rPr lang="en-US" dirty="0"/>
              <a:t> </a:t>
            </a:r>
            <a:r>
              <a:rPr lang="en-US" dirty="0" err="1"/>
              <a:t>ressourceforbrug</a:t>
            </a:r>
            <a:r>
              <a:rPr lang="en-US" dirty="0"/>
              <a:t>, </a:t>
            </a:r>
            <a:r>
              <a:rPr lang="en-US" dirty="0" err="1"/>
              <a:t>toksicitet</a:t>
            </a:r>
            <a:r>
              <a:rPr lang="en-US" dirty="0"/>
              <a:t> </a:t>
            </a:r>
            <a:r>
              <a:rPr lang="en-US" dirty="0" err="1"/>
              <a:t>osv</a:t>
            </a:r>
            <a:r>
              <a:rPr lang="en-US" dirty="0"/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9DDF2-2835-4E6C-B619-D3CBF7F14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00" y="6476400"/>
            <a:ext cx="626400" cy="108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62687-83A9-4355-9802-68FA9FD7C9C4}"/>
              </a:ext>
            </a:extLst>
          </p:cNvPr>
          <p:cNvSpPr txBox="1"/>
          <p:nvPr/>
        </p:nvSpPr>
        <p:spPr>
          <a:xfrm>
            <a:off x="275847" y="5629026"/>
            <a:ext cx="74489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aragò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Damgaard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A., Rebsdorf, M., Nielsen, P. H., &amp; Rygaard, M. (2022). Challenges in carbon footprint evaluations of state-of-the-art municipal wastewater resource recovery facilities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Journal of Environmental Management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320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115715.</a:t>
            </a: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3627500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A4466982-CC9E-7E72-A459-E2CC61A55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da-DK" sz="2000" dirty="0"/>
              <a:t>Reduktionsmål uden en robust kvantificering af baseline </a:t>
            </a:r>
            <a:r>
              <a:rPr lang="da-DK" sz="2000" dirty="0" err="1"/>
              <a:t>miljøpåvirkniner</a:t>
            </a:r>
            <a:r>
              <a:rPr lang="da-DK" sz="2000" dirty="0"/>
              <a:t> er ikke effektive</a:t>
            </a:r>
            <a:endParaRPr lang="en-US" sz="2000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AE1F41-6726-CBA7-D431-429F9C75C1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20504" y="654050"/>
            <a:ext cx="3211693" cy="5470246"/>
          </a:xfrm>
        </p:spPr>
        <p:txBody>
          <a:bodyPr/>
          <a:lstStyle/>
          <a:p>
            <a:r>
              <a:rPr lang="en-US" dirty="0" err="1"/>
              <a:t>Seks</a:t>
            </a:r>
            <a:r>
              <a:rPr lang="en-US" dirty="0"/>
              <a:t> </a:t>
            </a:r>
            <a:r>
              <a:rPr lang="en-US" dirty="0" err="1"/>
              <a:t>forskellige</a:t>
            </a:r>
            <a:r>
              <a:rPr lang="en-US" dirty="0"/>
              <a:t> </a:t>
            </a:r>
            <a:r>
              <a:rPr lang="en-US" dirty="0" err="1"/>
              <a:t>måder</a:t>
            </a:r>
            <a:r>
              <a:rPr lang="en-US" dirty="0"/>
              <a:t> at </a:t>
            </a:r>
            <a:r>
              <a:rPr lang="en-US" dirty="0" err="1"/>
              <a:t>opgøre</a:t>
            </a:r>
            <a:r>
              <a:rPr lang="en-US" dirty="0"/>
              <a:t> CO2-ækvilenter </a:t>
            </a:r>
          </a:p>
          <a:p>
            <a:endParaRPr lang="en-US" dirty="0"/>
          </a:p>
          <a:p>
            <a:r>
              <a:rPr lang="en-US" dirty="0" err="1"/>
              <a:t>Detter</a:t>
            </a:r>
            <a:r>
              <a:rPr lang="en-US" dirty="0"/>
              <a:t> </a:t>
            </a:r>
            <a:r>
              <a:rPr lang="en-US" dirty="0" err="1"/>
              <a:t>afhænger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hvilke</a:t>
            </a:r>
            <a:r>
              <a:rPr lang="en-US" dirty="0"/>
              <a:t> </a:t>
            </a:r>
            <a:r>
              <a:rPr lang="en-US" dirty="0" err="1"/>
              <a:t>metoder</a:t>
            </a:r>
            <a:r>
              <a:rPr lang="en-US" dirty="0"/>
              <a:t>, </a:t>
            </a:r>
            <a:r>
              <a:rPr lang="en-US" dirty="0" err="1"/>
              <a:t>faktorer</a:t>
            </a:r>
            <a:r>
              <a:rPr lang="en-US" dirty="0"/>
              <a:t> for </a:t>
            </a:r>
            <a:r>
              <a:rPr lang="en-US" dirty="0" err="1"/>
              <a:t>el</a:t>
            </a:r>
            <a:r>
              <a:rPr lang="en-US" dirty="0"/>
              <a:t>-mix, N</a:t>
            </a:r>
            <a:r>
              <a:rPr lang="en-US" baseline="-25000" dirty="0"/>
              <a:t>2</a:t>
            </a:r>
            <a:r>
              <a:rPr lang="en-US" dirty="0"/>
              <a:t>O </a:t>
            </a:r>
            <a:r>
              <a:rPr lang="en-US" dirty="0" err="1"/>
              <a:t>emissioner</a:t>
            </a:r>
            <a:r>
              <a:rPr lang="en-US" dirty="0"/>
              <a:t> vi burger, </a:t>
            </a:r>
            <a:r>
              <a:rPr lang="en-US" dirty="0" err="1"/>
              <a:t>kan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 err="1"/>
              <a:t>Standardisering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gælde</a:t>
            </a:r>
            <a:r>
              <a:rPr lang="en-US" dirty="0"/>
              <a:t> for </a:t>
            </a:r>
            <a:r>
              <a:rPr lang="en-US" dirty="0" err="1"/>
              <a:t>hvordan</a:t>
            </a:r>
            <a:r>
              <a:rPr lang="en-US" dirty="0"/>
              <a:t> vi </a:t>
            </a:r>
            <a:r>
              <a:rPr lang="en-US" dirty="0" err="1"/>
              <a:t>beregner</a:t>
            </a:r>
            <a:r>
              <a:rPr lang="en-US" dirty="0"/>
              <a:t> de </a:t>
            </a:r>
            <a:r>
              <a:rPr lang="en-US" dirty="0" err="1"/>
              <a:t>andre</a:t>
            </a:r>
            <a:r>
              <a:rPr lang="en-US" dirty="0"/>
              <a:t> 14 </a:t>
            </a:r>
            <a:r>
              <a:rPr lang="en-US" dirty="0" err="1"/>
              <a:t>miljø</a:t>
            </a:r>
            <a:r>
              <a:rPr lang="en-US" dirty="0"/>
              <a:t> LCA </a:t>
            </a:r>
            <a:r>
              <a:rPr lang="en-US" dirty="0" err="1"/>
              <a:t>kategorier</a:t>
            </a:r>
            <a:r>
              <a:rPr lang="en-US" dirty="0"/>
              <a:t>, </a:t>
            </a:r>
            <a:r>
              <a:rPr lang="en-US" dirty="0" err="1"/>
              <a:t>ligesom</a:t>
            </a:r>
            <a:r>
              <a:rPr lang="en-US" dirty="0"/>
              <a:t> </a:t>
            </a:r>
            <a:r>
              <a:rPr lang="en-US" dirty="0" err="1"/>
              <a:t>ressourceforbrug</a:t>
            </a:r>
            <a:r>
              <a:rPr lang="en-US" dirty="0"/>
              <a:t>, </a:t>
            </a:r>
            <a:r>
              <a:rPr lang="en-US" dirty="0" err="1"/>
              <a:t>toksicitet</a:t>
            </a:r>
            <a:r>
              <a:rPr lang="en-US" dirty="0"/>
              <a:t> </a:t>
            </a:r>
            <a:r>
              <a:rPr lang="en-US" dirty="0" err="1"/>
              <a:t>osv</a:t>
            </a:r>
            <a:r>
              <a:rPr lang="en-US" dirty="0"/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9DDF2-2835-4E6C-B619-D3CBF7F14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00" y="6476400"/>
            <a:ext cx="626400" cy="108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62687-83A9-4355-9802-68FA9FD7C9C4}"/>
              </a:ext>
            </a:extLst>
          </p:cNvPr>
          <p:cNvSpPr txBox="1"/>
          <p:nvPr/>
        </p:nvSpPr>
        <p:spPr>
          <a:xfrm>
            <a:off x="359803" y="5557619"/>
            <a:ext cx="74489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aragò, M., </a:t>
            </a:r>
            <a:r>
              <a:rPr lang="en-GB" sz="1200" b="0" i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Damgaard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A., Rebsdorf, M., Nielsen, P. H., &amp; Rygaard, M. (2022). Challenges in carbon footprint evaluations of state-of-the-art municipal wastewater resource recovery facilities.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Journal of Environmental Management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 </a:t>
            </a:r>
            <a:r>
              <a:rPr lang="en-GB" sz="1200" b="0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320</a:t>
            </a:r>
            <a:r>
              <a:rPr lang="en-GB" sz="12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115715.</a:t>
            </a:r>
            <a:endParaRPr lang="da-DK" sz="12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3E1ED67-1F1D-4FAB-A0EE-6C6B555C6A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44" t="2891" r="2701"/>
          <a:stretch/>
        </p:blipFill>
        <p:spPr>
          <a:xfrm>
            <a:off x="236306" y="2126114"/>
            <a:ext cx="7870506" cy="304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887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B5DC0-4B0E-4298-9B38-0AFB2B7DC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blemstilling</a:t>
            </a:r>
            <a:br>
              <a:rPr lang="da-DK" dirty="0"/>
            </a:br>
            <a:endParaRPr lang="da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88479-B156-4373-95DA-CE7D7FDBD5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a-DK" sz="2200" dirty="0"/>
              <a:t>Forskellige forudsætninger og emissionsfaktorer i forsyningernes klimaregnskaber/</a:t>
            </a:r>
            <a:r>
              <a:rPr lang="da-DK" sz="2200" dirty="0" err="1"/>
              <a:t>LCAer</a:t>
            </a:r>
            <a:r>
              <a:rPr lang="da-DK" sz="2200" dirty="0"/>
              <a:t>.</a:t>
            </a:r>
          </a:p>
          <a:p>
            <a:pPr lvl="1"/>
            <a:endParaRPr lang="da-DK" sz="2200" dirty="0"/>
          </a:p>
          <a:p>
            <a:pPr lvl="1"/>
            <a:r>
              <a:rPr lang="da-DK" sz="2200" dirty="0"/>
              <a:t>Det er uklart:</a:t>
            </a:r>
          </a:p>
          <a:p>
            <a:pPr lvl="2"/>
            <a:r>
              <a:rPr lang="da-DK" sz="2200" dirty="0"/>
              <a:t>hvilke standard LCA/CO</a:t>
            </a:r>
            <a:r>
              <a:rPr lang="da-DK" sz="2200" baseline="-25000" dirty="0"/>
              <a:t>2</a:t>
            </a:r>
            <a:r>
              <a:rPr lang="da-DK" sz="2200" dirty="0"/>
              <a:t>-opgørelse metoder man anvender</a:t>
            </a:r>
          </a:p>
          <a:p>
            <a:pPr lvl="2"/>
            <a:r>
              <a:rPr lang="da-DK" sz="2200" dirty="0"/>
              <a:t>Hvilke databaser (</a:t>
            </a:r>
            <a:r>
              <a:rPr lang="da-DK" sz="2200" dirty="0" err="1"/>
              <a:t>Ecoinvent</a:t>
            </a:r>
            <a:r>
              <a:rPr lang="da-DK" sz="2200" dirty="0"/>
              <a:t> eller andre)</a:t>
            </a:r>
          </a:p>
          <a:p>
            <a:pPr lvl="2"/>
            <a:r>
              <a:rPr lang="da-DK" sz="2200" dirty="0"/>
              <a:t>Hvilke software </a:t>
            </a:r>
          </a:p>
          <a:p>
            <a:pPr lvl="2"/>
            <a:r>
              <a:rPr lang="da-DK" sz="2200" dirty="0"/>
              <a:t>Hvordan kan systemafgrænsninger defineres for vores opgørelser</a:t>
            </a:r>
          </a:p>
          <a:p>
            <a:pPr marL="288000" lvl="2" indent="0">
              <a:buNone/>
            </a:pPr>
            <a:r>
              <a:rPr lang="da-DK" sz="2200" dirty="0"/>
              <a:t>…</a:t>
            </a:r>
          </a:p>
          <a:p>
            <a:pPr lvl="1"/>
            <a:r>
              <a:rPr lang="da-DK" sz="2200" dirty="0"/>
              <a:t>Hvilke </a:t>
            </a:r>
            <a:r>
              <a:rPr lang="da-DK" sz="2200" b="1" dirty="0"/>
              <a:t>fælles bæredygtigheds kriterier/indikatorer</a:t>
            </a:r>
            <a:r>
              <a:rPr lang="da-DK" sz="2200" dirty="0"/>
              <a:t> er relevante at kvantificere i vandprojekter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8611EF-FA71-4AF6-A138-A3AEA935C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2809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2.xml><?xml version="1.0" encoding="utf-8"?>
<a:theme xmlns:a="http://schemas.openxmlformats.org/drawingml/2006/main" name="1_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lank.potx" id="{900E3F7D-0F42-4127-A563-AB863FCD720C}" vid="{53CCD02C-91E1-4BFC-A1BE-18ED37431167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0</TotalTime>
  <Words>1022</Words>
  <Application>Microsoft Office PowerPoint</Application>
  <PresentationFormat>Widescreen</PresentationFormat>
  <Paragraphs>187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Verdana</vt:lpstr>
      <vt:lpstr>Blank</vt:lpstr>
      <vt:lpstr>1_Blank</vt:lpstr>
      <vt:lpstr>think-cell Slide</vt:lpstr>
      <vt:lpstr>Åbent Forum ’22, Odense Session: Modeller for samspil - udfordring til innovation - ”Hvem har bolden”</vt:lpstr>
      <vt:lpstr>Udgangspunkt fra et debatindlæg i Watertech</vt:lpstr>
      <vt:lpstr>Udgangspunkt fra et debatindlæg i Watertech</vt:lpstr>
      <vt:lpstr>Vandsektor udfordringer, målsætninger og muligheder</vt:lpstr>
      <vt:lpstr>The EU Green Deal framework</vt:lpstr>
      <vt:lpstr>Metoder og værktøjer til at sikre den grønne omstillingen</vt:lpstr>
      <vt:lpstr>Reduktionsmål uden en robust kvantificering af baseline miljøpåvirkninger er ikke effektive</vt:lpstr>
      <vt:lpstr>Reduktionsmål uden en robust kvantificering af baseline miljøpåvirkniner er ikke effektive</vt:lpstr>
      <vt:lpstr>Problemstilling </vt:lpstr>
      <vt:lpstr>De gode eksempler og den gode inspiration</vt:lpstr>
      <vt:lpstr>Projektets deltagere</vt:lpstr>
      <vt:lpstr>A Sustainability Framework for Water Resource Recovery Facilities</vt:lpstr>
      <vt:lpstr>Fra et framework til et Excel værktøj: MERM</vt:lpstr>
      <vt:lpstr>Den første udgave af MERM værktøjet der kommer til at  være frit tilgængeligt</vt:lpstr>
      <vt:lpstr>Hvad mangler branchen?</vt:lpstr>
      <vt:lpstr>Hvad kræver det?</vt:lpstr>
      <vt:lpstr>Hvem har bolden?</vt:lpstr>
      <vt:lpstr>Spørgsmål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9-09T11:09:59Z</dcterms:created>
  <dcterms:modified xsi:type="dcterms:W3CDTF">2022-11-02T06:2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2-03-08T09:58:29.4268918Z</vt:lpwstr>
  </property>
  <property fmtid="{D5CDD505-2E9C-101B-9397-08002B2CF9AE}" pid="3" name="CustomerId">
    <vt:lpwstr>ramboll</vt:lpwstr>
  </property>
  <property fmtid="{D5CDD505-2E9C-101B-9397-08002B2CF9AE}" pid="4" name="TemplateId">
    <vt:lpwstr>636486672340117068</vt:lpwstr>
  </property>
  <property fmtid="{D5CDD505-2E9C-101B-9397-08002B2CF9AE}" pid="5" name="UserProfileId">
    <vt:lpwstr>637677387987195348</vt:lpwstr>
  </property>
</Properties>
</file>